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diagrams/colors11.xml" ContentType="application/vnd.openxmlformats-officedocument.drawingml.diagramColors+xml"/>
  <Override PartName="/ppt/diagrams/data24.xml" ContentType="application/vnd.openxmlformats-officedocument.drawingml.diagramData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Default Extension="xml" ContentType="application/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slideLayouts/slideLayout24.xml" ContentType="application/vnd.openxmlformats-officedocument.presentationml.slideLayout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diagrams/layout17.xml" ContentType="application/vnd.openxmlformats-officedocument.drawingml.diagramLayout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quickStyle20.xml" ContentType="application/vnd.openxmlformats-officedocument.drawingml.diagramStyle+xml"/>
  <Override PartName="/ppt/diagrams/drawing21.xml" ContentType="application/vnd.ms-office.drawingml.diagramDrawing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diagrams/colors4.xml" ContentType="application/vnd.openxmlformats-officedocument.drawingml.diagramColors+xml"/>
  <Override PartName="/ppt/diagrams/drawing10.xml" ContentType="application/vnd.ms-office.drawingml.diagramDrawing+xml"/>
  <Override PartName="/ppt/diagrams/colors16.xml" ContentType="application/vnd.openxmlformats-officedocument.drawingml.diagramColors+xml"/>
  <Override PartName="/ppt/diagrams/data18.xml" ContentType="application/vnd.openxmlformats-officedocument.drawingml.diagramData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diagrams/drawing3.xml" ContentType="application/vnd.ms-office.drawingml.diagramDrawing+xml"/>
  <Override PartName="/ppt/diagrams/layout20.xml" ContentType="application/vnd.openxmlformats-officedocument.drawingml.diagram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slides/slide33.xml" ContentType="application/vnd.openxmlformats-officedocument.presentationml.slide+xml"/>
  <Override PartName="/ppt/tags/tag68.xml" ContentType="application/vnd.openxmlformats-officedocument.presentationml.tags+xml"/>
  <Override PartName="/ppt/diagrams/data21.xml" ContentType="application/vnd.openxmlformats-officedocument.drawingml.diagramData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slideLayouts/slideLayout21.xml" ContentType="application/vnd.openxmlformats-officedocument.presentationml.slideLayout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quickStyle14.xml" ContentType="application/vnd.openxmlformats-officedocument.drawingml.diagramStyle+xml"/>
  <Override PartName="/ppt/diagrams/drawing15.xml" ContentType="application/vnd.ms-office.drawingml.diagramDrawing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diagrams/drawing8.xml" ContentType="application/vnd.ms-office.drawingml.diagramDrawing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diagrams/quickStyle8.xml" ContentType="application/vnd.openxmlformats-officedocument.drawingml.diagramStyle+xml"/>
  <Override PartName="/ppt/diagrams/layout14.xml" ContentType="application/vnd.openxmlformats-officedocument.drawingml.diagramLayout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diagrams/colors24.xml" ContentType="application/vnd.openxmlformats-officedocument.drawingml.diagramColors+xml"/>
  <Override PartName="/ppt/tags/tag131.xml" ContentType="application/vnd.openxmlformats-officedocument.presentationml.tags+xml"/>
  <Override PartName="/ppt/diagrams/colors1.xml" ContentType="application/vnd.openxmlformats-officedocument.drawingml.diagramColors+xml"/>
  <Override PartName="/ppt/diagrams/colors13.xml" ContentType="application/vnd.openxmlformats-officedocument.drawingml.diagramColors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diagrams/data15.xml" ContentType="application/vnd.openxmlformats-officedocument.drawingml.diagramData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slideLayouts/slideLayout26.xml" ContentType="application/vnd.openxmlformats-officedocument.presentationml.slideLayout+xml"/>
  <Default Extension="wmf" ContentType="image/x-wmf"/>
  <Override PartName="/ppt/diagrams/quickStyle19.xml" ContentType="application/vnd.openxmlformats-officedocument.drawingml.diagramStyle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diagrams/layout19.xml" ContentType="application/vnd.openxmlformats-officedocument.drawingml.diagramLayout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quickStyle22.xml" ContentType="application/vnd.openxmlformats-officedocument.drawingml.diagramStyle+xml"/>
  <Override PartName="/ppt/diagrams/drawing23.xml" ContentType="application/vnd.ms-office.drawingml.diagramDrawing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diagrams/colors6.xml" ContentType="application/vnd.openxmlformats-officedocument.drawingml.diagramColors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diagrams/colors18.xml" ContentType="application/vnd.openxmlformats-officedocument.drawingml.diagramColor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diagrams/drawing5.xml" ContentType="application/vnd.ms-office.drawingml.diagramDrawing+xml"/>
  <Override PartName="/ppt/diagrams/layout11.xml" ContentType="application/vnd.openxmlformats-officedocument.drawingml.diagramLayout+xml"/>
  <Override PartName="/ppt/diagrams/layout22.xml" ContentType="application/vnd.openxmlformats-officedocument.drawingml.diagramLayout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heme/theme4.xml" ContentType="application/vnd.openxmlformats-officedocument.theme+xml"/>
  <Override PartName="/ppt/diagrams/quickStyle5.xml" ContentType="application/vnd.openxmlformats-officedocument.drawingml.diagramStyle+xml"/>
  <Override PartName="/ppt/diagrams/colors10.xml" ContentType="application/vnd.openxmlformats-officedocument.drawingml.diagramColors+xml"/>
  <Override PartName="/ppt/diagrams/colors21.xml" ContentType="application/vnd.openxmlformats-officedocument.drawingml.diagramColors+xml"/>
  <Override PartName="/ppt/diagrams/data23.xml" ContentType="application/vnd.openxmlformats-officedocument.drawingml.diagramData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tags/tag59.xml" ContentType="application/vnd.openxmlformats-officedocument.presentationml.tags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slideLayouts/slideLayout23.xml" ContentType="application/vnd.openxmlformats-officedocument.presentationml.slideLayout+xml"/>
  <Override PartName="/ppt/diagrams/data9.xml" ContentType="application/vnd.openxmlformats-officedocument.drawingml.diagramData+xml"/>
  <Override PartName="/ppt/diagrams/quickStyle16.xml" ContentType="application/vnd.openxmlformats-officedocument.drawingml.diagramStyle+xml"/>
  <Override PartName="/ppt/diagrams/drawing17.xml" ContentType="application/vnd.ms-office.drawingml.diagramDrawing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177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diagrams/layout16.xml" ContentType="application/vnd.openxmlformats-officedocument.drawingml.diagramLayout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diagrams/drawing20.xml" ContentType="application/vnd.ms-office.drawingml.diagramDrawing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colors15.xml" ContentType="application/vnd.openxmlformats-officedocument.drawingml.diagramColor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diagrams/drawing2.xml" ContentType="application/vnd.ms-office.drawingml.diagramDrawing+xml"/>
  <Override PartName="/ppt/diagrams/data17.xml" ContentType="application/vnd.openxmlformats-officedocument.drawingml.diagramData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slideLayouts/slideLayout28.xml" ContentType="application/vnd.openxmlformats-officedocument.presentationml.slideLayout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diagrams/data20.xml" ContentType="application/vnd.openxmlformats-officedocument.drawingml.diagramData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slideLayouts/slideLayout20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quickStyle24.xml" ContentType="application/vnd.openxmlformats-officedocument.drawingml.diagramStyle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diagrams/drawing14.xml" ContentType="application/vnd.ms-office.drawingml.diagramDrawing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diagrams/drawing7.xml" ContentType="application/vnd.ms-office.drawingml.diagramDrawing+xml"/>
  <Override PartName="/ppt/diagrams/layout13.xml" ContentType="application/vnd.openxmlformats-officedocument.drawingml.diagramLayout+xml"/>
  <Override PartName="/ppt/diagrams/layout24.xml" ContentType="application/vnd.openxmlformats-officedocument.drawingml.diagramLayout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diagrams/quickStyle7.xml" ContentType="application/vnd.openxmlformats-officedocument.drawingml.diagramStyle+xml"/>
  <Default Extension="bin" ContentType="application/vnd.openxmlformats-officedocument.oleObject"/>
  <Override PartName="/ppt/tags/tag141.xml" ContentType="application/vnd.openxmlformats-officedocument.presentationml.tags+xml"/>
  <Override PartName="/ppt/diagrams/colors12.xml" ContentType="application/vnd.openxmlformats-officedocument.drawingml.diagramColors+xml"/>
  <Override PartName="/ppt/diagrams/colors23.xml" ContentType="application/vnd.openxmlformats-officedocument.drawingml.diagramColors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slideLayouts/slideLayout25.xml" ContentType="application/vnd.openxmlformats-officedocument.presentationml.slideLayout+xml"/>
  <Override PartName="/ppt/diagrams/drawing19.xml" ContentType="application/vnd.ms-office.drawingml.diagramDrawing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diagrams/quickStyle18.xml" ContentType="application/vnd.openxmlformats-officedocument.drawingml.diagramStyle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diagrams/layout18.xml" ContentType="application/vnd.openxmlformats-officedocument.drawingml.diagramLayout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diagrams/layout2.xml" ContentType="application/vnd.openxmlformats-officedocument.drawingml.diagramLayout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diagrams/colors17.xml" ContentType="application/vnd.openxmlformats-officedocument.drawingml.diagramColors+xml"/>
  <Override PartName="/ppt/diagrams/quickStyle21.xml" ContentType="application/vnd.openxmlformats-officedocument.drawingml.diagramStyle+xml"/>
  <Override PartName="/ppt/diagrams/drawing22.xml" ContentType="application/vnd.ms-office.drawingml.diagramDrawing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diagrams/drawing4.xml" ContentType="application/vnd.ms-office.drawingml.diagramDrawing+xml"/>
  <Override PartName="/ppt/diagrams/data19.xml" ContentType="application/vnd.openxmlformats-officedocument.drawingml.diagramData+xml"/>
  <Override PartName="/ppt/diagrams/layout21.xml" ContentType="application/vnd.openxmlformats-officedocument.drawingml.diagram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slideLayouts/slideLayout19.xml" ContentType="application/vnd.openxmlformats-officedocument.presentationml.slideLayout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theme/theme3.xml" ContentType="application/vnd.openxmlformats-officedocument.theme+xml"/>
  <Override PartName="/ppt/diagrams/colors20.xml" ContentType="application/vnd.openxmlformats-officedocument.drawingml.diagramColors+xml"/>
  <Override PartName="/ppt/slides/slide34.xml" ContentType="application/vnd.openxmlformats-officedocument.presentationml.slide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diagrams/data11.xml" ContentType="application/vnd.openxmlformats-officedocument.drawingml.diagramData+xml"/>
  <Override PartName="/ppt/diagrams/data22.xml" ContentType="application/vnd.openxmlformats-officedocument.drawingml.diagramData+xml"/>
  <Default Extension="rels" ContentType="application/vnd.openxmlformats-package.relationships+xml"/>
  <Override PartName="/ppt/slides/slide23.xml" ContentType="application/vnd.openxmlformats-officedocument.presentationml.slide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slideLayouts/slideLayout22.xml" ContentType="application/vnd.openxmlformats-officedocument.presentationml.slideLayout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diagrams/quickStyle15.xml" ContentType="application/vnd.openxmlformats-officedocument.drawingml.diagramStyle+xml"/>
  <Override PartName="/ppt/diagrams/drawing16.xml" ContentType="application/vnd.ms-office.drawingml.diagramDrawing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diagrams/drawing9.xml" ContentType="application/vnd.ms-office.drawingml.diagramDrawing+xml"/>
  <Override PartName="/ppt/diagrams/layout15.xml" ContentType="application/vnd.openxmlformats-officedocument.drawingml.diagramLayout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diagrams/quickStyle9.xml" ContentType="application/vnd.openxmlformats-officedocument.drawingml.diagramStyle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diagrams/colors14.xml" ContentType="application/vnd.openxmlformats-officedocument.drawingml.diagramColors+xml"/>
  <Override PartName="/ppt/slides/slide28.xml" ContentType="application/vnd.openxmlformats-officedocument.presentationml.slide+xml"/>
  <Override PartName="/ppt/tags/tag132.xml" ContentType="application/vnd.openxmlformats-officedocument.presentationml.tags+xml"/>
  <Override PartName="/ppt/diagrams/colors2.xml" ContentType="application/vnd.openxmlformats-officedocument.drawingml.diagramColors+xml"/>
  <Override PartName="/ppt/diagrams/data16.xml" ContentType="application/vnd.openxmlformats-officedocument.drawingml.diagramData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Layouts/slideLayout27.xml" ContentType="application/vnd.openxmlformats-officedocument.presentationml.slideLayout+xml"/>
  <Override PartName="/ppt/diagrams/drawing1.xml" ContentType="application/vnd.ms-office.drawingml.diagramDrawing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diagrams/quickStyle1.xml" ContentType="application/vnd.openxmlformats-officedocument.drawingml.diagramStyle+xml"/>
  <Override PartName="/ppt/slides/slide31.xml" ContentType="application/vnd.openxmlformats-officedocument.presentationml.slide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slides/slide20.xml" ContentType="application/vnd.openxmlformats-officedocument.presentationml.slide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diagrams/layout4.xml" ContentType="application/vnd.openxmlformats-officedocument.drawingml.diagramLayout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diagrams/drawing13.xml" ContentType="application/vnd.ms-office.drawingml.diagramDrawing+xml"/>
  <Override PartName="/ppt/diagrams/colors19.xml" ContentType="application/vnd.openxmlformats-officedocument.drawingml.diagramColors+xml"/>
  <Override PartName="/ppt/diagrams/quickStyle23.xml" ContentType="application/vnd.openxmlformats-officedocument.drawingml.diagramStyle+xml"/>
  <Override PartName="/ppt/diagrams/drawing24.xml" ContentType="application/vnd.ms-office.drawingml.diagramDrawing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diagrams/drawing6.xml" ContentType="application/vnd.ms-office.drawingml.diagramDrawing+xml"/>
  <Override PartName="/ppt/diagrams/layout23.xml" ContentType="application/vnd.openxmlformats-officedocument.drawingml.diagramLayout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diagrams/quickStyle6.xml" ContentType="application/vnd.openxmlformats-officedocument.drawingml.diagramStyle+xml"/>
  <Override PartName="/ppt/diagrams/layout12.xml" ContentType="application/vnd.openxmlformats-officedocument.drawingml.diagramLayout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diagrams/colors22.xml" ContentType="application/vnd.openxmlformats-officedocument.drawingml.diagramColor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diagrams/data13.xml" ContentType="application/vnd.openxmlformats-officedocument.drawingml.diagramData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189.xml" ContentType="application/vnd.openxmlformats-officedocument.presentationml.tags+xml"/>
  <Override PartName="/ppt/diagrams/quickStyle17.xml" ContentType="application/vnd.openxmlformats-officedocument.drawingml.diagramStyle+xml"/>
  <Override PartName="/ppt/diagrams/drawing18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9" r:id="rId1"/>
    <p:sldMasterId id="2147484446" r:id="rId2"/>
  </p:sldMasterIdLst>
  <p:notesMasterIdLst>
    <p:notesMasterId r:id="rId38"/>
  </p:notesMasterIdLst>
  <p:handoutMasterIdLst>
    <p:handoutMasterId r:id="rId39"/>
  </p:handoutMasterIdLst>
  <p:sldIdLst>
    <p:sldId id="261" r:id="rId3"/>
    <p:sldId id="415" r:id="rId4"/>
    <p:sldId id="457" r:id="rId5"/>
    <p:sldId id="418" r:id="rId6"/>
    <p:sldId id="442" r:id="rId7"/>
    <p:sldId id="443" r:id="rId8"/>
    <p:sldId id="455" r:id="rId9"/>
    <p:sldId id="458" r:id="rId10"/>
    <p:sldId id="438" r:id="rId11"/>
    <p:sldId id="445" r:id="rId12"/>
    <p:sldId id="446" r:id="rId13"/>
    <p:sldId id="463" r:id="rId14"/>
    <p:sldId id="464" r:id="rId15"/>
    <p:sldId id="416" r:id="rId16"/>
    <p:sldId id="449" r:id="rId17"/>
    <p:sldId id="450" r:id="rId18"/>
    <p:sldId id="444" r:id="rId19"/>
    <p:sldId id="430" r:id="rId20"/>
    <p:sldId id="429" r:id="rId21"/>
    <p:sldId id="431" r:id="rId22"/>
    <p:sldId id="426" r:id="rId23"/>
    <p:sldId id="419" r:id="rId24"/>
    <p:sldId id="420" r:id="rId25"/>
    <p:sldId id="421" r:id="rId26"/>
    <p:sldId id="427" r:id="rId27"/>
    <p:sldId id="428" r:id="rId28"/>
    <p:sldId id="433" r:id="rId29"/>
    <p:sldId id="435" r:id="rId30"/>
    <p:sldId id="459" r:id="rId31"/>
    <p:sldId id="461" r:id="rId32"/>
    <p:sldId id="462" r:id="rId33"/>
    <p:sldId id="451" r:id="rId34"/>
    <p:sldId id="460" r:id="rId35"/>
    <p:sldId id="353" r:id="rId36"/>
    <p:sldId id="352" r:id="rId37"/>
  </p:sldIdLst>
  <p:sldSz cx="9906000" cy="6858000" type="A4"/>
  <p:notesSz cx="9931400" cy="6794500"/>
  <p:custDataLst>
    <p:tags r:id="rId40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3F56"/>
    <a:srgbClr val="FFFFFF"/>
    <a:srgbClr val="3333CC"/>
    <a:srgbClr val="000000"/>
    <a:srgbClr val="4520E2"/>
    <a:srgbClr val="09BAFF"/>
    <a:srgbClr val="D6CBC2"/>
    <a:srgbClr val="FF960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03447BB-5D67-496B-8E87-E561075AD55C}" styleName="深色样式 1 - 强调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344D84-9AFB-497E-A393-DC336BA19D2E}" styleName="中度样式 3 - 强调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4C1A8A3-306A-4EB7-A6B1-4F7E0EB9C5D6}" styleName="中度样式 3 - 强调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中度样式 1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46F890A9-2807-4EBB-B81D-B2AA78EC7F39}" styleName="深色样式 2 - 强调 5/强调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A111915-BE36-4E01-A7E5-04B1672EAD32}" styleName="浅色样式 2 - 强调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2838BEF-8BB2-4498-84A7-C5851F593DF1}" styleName="中度样式 4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中度样式 4 - 强调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7292A2E-F333-43FB-9621-5CBBE7FDCDCB}" styleName="浅色样式 2 - 强调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浅色样式 2 - 强调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33" autoAdjust="0"/>
    <p:restoredTop sz="99810" autoAdjust="0"/>
  </p:normalViewPr>
  <p:slideViewPr>
    <p:cSldViewPr snapToGrid="0">
      <p:cViewPr>
        <p:scale>
          <a:sx n="80" d="100"/>
          <a:sy n="80" d="100"/>
        </p:scale>
        <p:origin x="-354" y="244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7148"/>
    </p:cViewPr>
  </p:sorterViewPr>
  <p:notesViewPr>
    <p:cSldViewPr snapToGrid="0">
      <p:cViewPr varScale="1">
        <p:scale>
          <a:sx n="65" d="100"/>
          <a:sy n="65" d="100"/>
        </p:scale>
        <p:origin x="-1678" y="-72"/>
      </p:cViewPr>
      <p:guideLst>
        <p:guide orient="horz" pos="2140"/>
        <p:guide pos="3128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9F77C11-BEC6-439B-BF0B-07725A7B0363}" type="doc">
      <dgm:prSet loTypeId="urn:microsoft.com/office/officeart/2005/8/layout/vList3#1" loCatId="list" qsTypeId="urn:microsoft.com/office/officeart/2005/8/quickstyle/3d1" qsCatId="3D" csTypeId="urn:microsoft.com/office/officeart/2005/8/colors/colorful3" csCatId="colorful" phldr="1"/>
      <dgm:spPr/>
    </dgm:pt>
    <dgm:pt modelId="{B88219B9-1FDD-4788-A5C2-0C9446F0BA4C}">
      <dgm:prSet phldrT="[文本]"/>
      <dgm:spPr/>
      <dgm:t>
        <a:bodyPr/>
        <a:lstStyle/>
        <a:p>
          <a:r>
            <a:rPr lang="zh-CN" altLang="en-US" dirty="0" smtClean="0"/>
            <a:t>技术架构</a:t>
          </a:r>
          <a:endParaRPr lang="zh-CN" altLang="en-US" dirty="0"/>
        </a:p>
      </dgm:t>
    </dgm:pt>
    <dgm:pt modelId="{4EE9393F-8F9B-476C-B789-A4ECB2279E9F}" type="parTrans" cxnId="{4C996DC7-4D7E-4A56-811F-04442BEE8466}">
      <dgm:prSet/>
      <dgm:spPr/>
      <dgm:t>
        <a:bodyPr/>
        <a:lstStyle/>
        <a:p>
          <a:endParaRPr lang="zh-CN" altLang="en-US"/>
        </a:p>
      </dgm:t>
    </dgm:pt>
    <dgm:pt modelId="{986F6FBF-FB3C-4676-930B-B6A8CF84EAB7}" type="sibTrans" cxnId="{4C996DC7-4D7E-4A56-811F-04442BEE8466}">
      <dgm:prSet/>
      <dgm:spPr/>
      <dgm:t>
        <a:bodyPr/>
        <a:lstStyle/>
        <a:p>
          <a:endParaRPr lang="zh-CN" altLang="en-US"/>
        </a:p>
      </dgm:t>
    </dgm:pt>
    <dgm:pt modelId="{397A2372-675B-4A74-91D3-0AD0F1189910}">
      <dgm:prSet phldrT="[文本]"/>
      <dgm:spPr/>
      <dgm:t>
        <a:bodyPr/>
        <a:lstStyle/>
        <a:p>
          <a:r>
            <a:rPr lang="zh-CN" altLang="en-US" dirty="0" smtClean="0"/>
            <a:t>性能优化</a:t>
          </a:r>
          <a:endParaRPr lang="zh-CN" altLang="en-US" dirty="0"/>
        </a:p>
      </dgm:t>
    </dgm:pt>
    <dgm:pt modelId="{70FCBDFA-56A1-4CC1-931F-66D458D8C4D2}" type="parTrans" cxnId="{9F9BB46A-BBD8-46A9-A597-32FC8EF2F74B}">
      <dgm:prSet/>
      <dgm:spPr/>
      <dgm:t>
        <a:bodyPr/>
        <a:lstStyle/>
        <a:p>
          <a:endParaRPr lang="zh-CN" altLang="en-US"/>
        </a:p>
      </dgm:t>
    </dgm:pt>
    <dgm:pt modelId="{BB71AF0F-9CC3-444B-B9C4-5AC0C399AA92}" type="sibTrans" cxnId="{9F9BB46A-BBD8-46A9-A597-32FC8EF2F74B}">
      <dgm:prSet/>
      <dgm:spPr/>
      <dgm:t>
        <a:bodyPr/>
        <a:lstStyle/>
        <a:p>
          <a:endParaRPr lang="zh-CN" altLang="en-US"/>
        </a:p>
      </dgm:t>
    </dgm:pt>
    <dgm:pt modelId="{857A9F3F-8475-421F-B259-C974746A3CFF}">
      <dgm:prSet phldrT="[文本]"/>
      <dgm:spPr/>
      <dgm:t>
        <a:bodyPr/>
        <a:lstStyle/>
        <a:p>
          <a:r>
            <a:rPr lang="zh-CN" altLang="en-US" dirty="0" smtClean="0"/>
            <a:t>解决方案</a:t>
          </a:r>
          <a:endParaRPr lang="zh-CN" altLang="en-US" dirty="0"/>
        </a:p>
      </dgm:t>
    </dgm:pt>
    <dgm:pt modelId="{6EDDC78A-16B2-420A-BF2F-0B2D98A66371}" type="parTrans" cxnId="{C51ABACD-4130-4728-BD47-4CB1BC8F8F98}">
      <dgm:prSet/>
      <dgm:spPr/>
      <dgm:t>
        <a:bodyPr/>
        <a:lstStyle/>
        <a:p>
          <a:endParaRPr lang="zh-CN" altLang="en-US"/>
        </a:p>
      </dgm:t>
    </dgm:pt>
    <dgm:pt modelId="{2C3D344C-2404-4E51-9F2F-A89B75A3361A}" type="sibTrans" cxnId="{C51ABACD-4130-4728-BD47-4CB1BC8F8F98}">
      <dgm:prSet/>
      <dgm:spPr/>
      <dgm:t>
        <a:bodyPr/>
        <a:lstStyle/>
        <a:p>
          <a:endParaRPr lang="zh-CN" altLang="en-US"/>
        </a:p>
      </dgm:t>
    </dgm:pt>
    <dgm:pt modelId="{DB6A8E02-9239-4566-B4B2-81C62977B47E}" type="pres">
      <dgm:prSet presAssocID="{69F77C11-BEC6-439B-BF0B-07725A7B0363}" presName="linearFlow" presStyleCnt="0">
        <dgm:presLayoutVars>
          <dgm:dir/>
          <dgm:resizeHandles val="exact"/>
        </dgm:presLayoutVars>
      </dgm:prSet>
      <dgm:spPr/>
    </dgm:pt>
    <dgm:pt modelId="{E964524C-68A1-4CA0-8F61-4D62CC21669C}" type="pres">
      <dgm:prSet presAssocID="{B88219B9-1FDD-4788-A5C2-0C9446F0BA4C}" presName="composite" presStyleCnt="0"/>
      <dgm:spPr/>
    </dgm:pt>
    <dgm:pt modelId="{0E25882B-9224-44F4-90B5-F49535F5EE35}" type="pres">
      <dgm:prSet presAssocID="{B88219B9-1FDD-4788-A5C2-0C9446F0BA4C}" presName="imgShp" presStyleLbl="fgImgPlace1" presStyleIdx="0" presStyleCnt="3"/>
      <dgm:spPr/>
    </dgm:pt>
    <dgm:pt modelId="{E33F4A5E-388F-47C0-9B45-BE46FCE146AD}" type="pres">
      <dgm:prSet presAssocID="{B88219B9-1FDD-4788-A5C2-0C9446F0BA4C}" presName="txShp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4AB0968-E36D-45E7-BEE3-CD4EDD7B4E53}" type="pres">
      <dgm:prSet presAssocID="{986F6FBF-FB3C-4676-930B-B6A8CF84EAB7}" presName="spacing" presStyleCnt="0"/>
      <dgm:spPr/>
    </dgm:pt>
    <dgm:pt modelId="{5C8F39FD-3EFB-44D3-B105-A9368A3E0232}" type="pres">
      <dgm:prSet presAssocID="{857A9F3F-8475-421F-B259-C974746A3CFF}" presName="composite" presStyleCnt="0"/>
      <dgm:spPr/>
    </dgm:pt>
    <dgm:pt modelId="{20CB9E6A-A127-469E-938D-88D6596117BD}" type="pres">
      <dgm:prSet presAssocID="{857A9F3F-8475-421F-B259-C974746A3CFF}" presName="imgShp" presStyleLbl="fgImgPlace1" presStyleIdx="1" presStyleCnt="3"/>
      <dgm:spPr/>
    </dgm:pt>
    <dgm:pt modelId="{E10BDCC2-3ED0-4F11-A7D8-37C151D4E4FB}" type="pres">
      <dgm:prSet presAssocID="{857A9F3F-8475-421F-B259-C974746A3CFF}" presName="txShp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BE1104E-2E44-4B8D-9783-B0628E8A1DE5}" type="pres">
      <dgm:prSet presAssocID="{2C3D344C-2404-4E51-9F2F-A89B75A3361A}" presName="spacing" presStyleCnt="0"/>
      <dgm:spPr/>
    </dgm:pt>
    <dgm:pt modelId="{A2B7AD95-62D8-4485-AAB3-C3F368A7AEC7}" type="pres">
      <dgm:prSet presAssocID="{397A2372-675B-4A74-91D3-0AD0F1189910}" presName="composite" presStyleCnt="0"/>
      <dgm:spPr/>
    </dgm:pt>
    <dgm:pt modelId="{BAC0B973-30F2-46FC-9095-04BDF0DF1A6C}" type="pres">
      <dgm:prSet presAssocID="{397A2372-675B-4A74-91D3-0AD0F1189910}" presName="imgShp" presStyleLbl="fgImgPlace1" presStyleIdx="2" presStyleCnt="3"/>
      <dgm:spPr/>
    </dgm:pt>
    <dgm:pt modelId="{E106B49F-5D28-426D-ABFE-950D4B1ED45C}" type="pres">
      <dgm:prSet presAssocID="{397A2372-675B-4A74-91D3-0AD0F1189910}" presName="tx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9F9BB46A-BBD8-46A9-A597-32FC8EF2F74B}" srcId="{69F77C11-BEC6-439B-BF0B-07725A7B0363}" destId="{397A2372-675B-4A74-91D3-0AD0F1189910}" srcOrd="2" destOrd="0" parTransId="{70FCBDFA-56A1-4CC1-931F-66D458D8C4D2}" sibTransId="{BB71AF0F-9CC3-444B-B9C4-5AC0C399AA92}"/>
    <dgm:cxn modelId="{C51ABACD-4130-4728-BD47-4CB1BC8F8F98}" srcId="{69F77C11-BEC6-439B-BF0B-07725A7B0363}" destId="{857A9F3F-8475-421F-B259-C974746A3CFF}" srcOrd="1" destOrd="0" parTransId="{6EDDC78A-16B2-420A-BF2F-0B2D98A66371}" sibTransId="{2C3D344C-2404-4E51-9F2F-A89B75A3361A}"/>
    <dgm:cxn modelId="{C403488A-3A70-4EDE-B8A3-483ED8507081}" type="presOf" srcId="{B88219B9-1FDD-4788-A5C2-0C9446F0BA4C}" destId="{E33F4A5E-388F-47C0-9B45-BE46FCE146AD}" srcOrd="0" destOrd="0" presId="urn:microsoft.com/office/officeart/2005/8/layout/vList3#1"/>
    <dgm:cxn modelId="{A9CAA03B-6D39-4BF3-9466-122E9CEF95BE}" type="presOf" srcId="{857A9F3F-8475-421F-B259-C974746A3CFF}" destId="{E10BDCC2-3ED0-4F11-A7D8-37C151D4E4FB}" srcOrd="0" destOrd="0" presId="urn:microsoft.com/office/officeart/2005/8/layout/vList3#1"/>
    <dgm:cxn modelId="{4C996DC7-4D7E-4A56-811F-04442BEE8466}" srcId="{69F77C11-BEC6-439B-BF0B-07725A7B0363}" destId="{B88219B9-1FDD-4788-A5C2-0C9446F0BA4C}" srcOrd="0" destOrd="0" parTransId="{4EE9393F-8F9B-476C-B789-A4ECB2279E9F}" sibTransId="{986F6FBF-FB3C-4676-930B-B6A8CF84EAB7}"/>
    <dgm:cxn modelId="{0D55BDF8-7D2D-4535-83B0-05994663595B}" type="presOf" srcId="{397A2372-675B-4A74-91D3-0AD0F1189910}" destId="{E106B49F-5D28-426D-ABFE-950D4B1ED45C}" srcOrd="0" destOrd="0" presId="urn:microsoft.com/office/officeart/2005/8/layout/vList3#1"/>
    <dgm:cxn modelId="{5C2CD236-5387-4CE0-A022-D33440ACF480}" type="presOf" srcId="{69F77C11-BEC6-439B-BF0B-07725A7B0363}" destId="{DB6A8E02-9239-4566-B4B2-81C62977B47E}" srcOrd="0" destOrd="0" presId="urn:microsoft.com/office/officeart/2005/8/layout/vList3#1"/>
    <dgm:cxn modelId="{36906852-A9CF-4A70-B758-A972F3841A9F}" type="presParOf" srcId="{DB6A8E02-9239-4566-B4B2-81C62977B47E}" destId="{E964524C-68A1-4CA0-8F61-4D62CC21669C}" srcOrd="0" destOrd="0" presId="urn:microsoft.com/office/officeart/2005/8/layout/vList3#1"/>
    <dgm:cxn modelId="{52956B88-38EE-4F14-A33C-E90154B6186E}" type="presParOf" srcId="{E964524C-68A1-4CA0-8F61-4D62CC21669C}" destId="{0E25882B-9224-44F4-90B5-F49535F5EE35}" srcOrd="0" destOrd="0" presId="urn:microsoft.com/office/officeart/2005/8/layout/vList3#1"/>
    <dgm:cxn modelId="{B4444020-0AA5-415B-9401-24B6522F52CC}" type="presParOf" srcId="{E964524C-68A1-4CA0-8F61-4D62CC21669C}" destId="{E33F4A5E-388F-47C0-9B45-BE46FCE146AD}" srcOrd="1" destOrd="0" presId="urn:microsoft.com/office/officeart/2005/8/layout/vList3#1"/>
    <dgm:cxn modelId="{3F6C5038-2071-4538-AAEA-811960506B60}" type="presParOf" srcId="{DB6A8E02-9239-4566-B4B2-81C62977B47E}" destId="{B4AB0968-E36D-45E7-BEE3-CD4EDD7B4E53}" srcOrd="1" destOrd="0" presId="urn:microsoft.com/office/officeart/2005/8/layout/vList3#1"/>
    <dgm:cxn modelId="{5C172600-066B-4E04-A2FF-7744171D4843}" type="presParOf" srcId="{DB6A8E02-9239-4566-B4B2-81C62977B47E}" destId="{5C8F39FD-3EFB-44D3-B105-A9368A3E0232}" srcOrd="2" destOrd="0" presId="urn:microsoft.com/office/officeart/2005/8/layout/vList3#1"/>
    <dgm:cxn modelId="{DB338E90-F007-44F3-B10D-D6DC9BADC56E}" type="presParOf" srcId="{5C8F39FD-3EFB-44D3-B105-A9368A3E0232}" destId="{20CB9E6A-A127-469E-938D-88D6596117BD}" srcOrd="0" destOrd="0" presId="urn:microsoft.com/office/officeart/2005/8/layout/vList3#1"/>
    <dgm:cxn modelId="{CC7A7BC4-1CA7-4EFE-B652-9978207286A0}" type="presParOf" srcId="{5C8F39FD-3EFB-44D3-B105-A9368A3E0232}" destId="{E10BDCC2-3ED0-4F11-A7D8-37C151D4E4FB}" srcOrd="1" destOrd="0" presId="urn:microsoft.com/office/officeart/2005/8/layout/vList3#1"/>
    <dgm:cxn modelId="{FFEAB090-3254-4BD3-B081-41E88F6A88A6}" type="presParOf" srcId="{DB6A8E02-9239-4566-B4B2-81C62977B47E}" destId="{1BE1104E-2E44-4B8D-9783-B0628E8A1DE5}" srcOrd="3" destOrd="0" presId="urn:microsoft.com/office/officeart/2005/8/layout/vList3#1"/>
    <dgm:cxn modelId="{070E0428-B030-4745-9C2F-D33D38A315EB}" type="presParOf" srcId="{DB6A8E02-9239-4566-B4B2-81C62977B47E}" destId="{A2B7AD95-62D8-4485-AAB3-C3F368A7AEC7}" srcOrd="4" destOrd="0" presId="urn:microsoft.com/office/officeart/2005/8/layout/vList3#1"/>
    <dgm:cxn modelId="{38DAE7EB-5F26-4A18-90C2-3F8E689D308C}" type="presParOf" srcId="{A2B7AD95-62D8-4485-AAB3-C3F368A7AEC7}" destId="{BAC0B973-30F2-46FC-9095-04BDF0DF1A6C}" srcOrd="0" destOrd="0" presId="urn:microsoft.com/office/officeart/2005/8/layout/vList3#1"/>
    <dgm:cxn modelId="{308F413E-3411-4CF0-B8AA-5D679CCED285}" type="presParOf" srcId="{A2B7AD95-62D8-4485-AAB3-C3F368A7AEC7}" destId="{E106B49F-5D28-426D-ABFE-950D4B1ED45C}" srcOrd="1" destOrd="0" presId="urn:microsoft.com/office/officeart/2005/8/layout/vList3#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E4C54A3A-01A4-403D-BBFD-88978E00ECE9}" type="doc">
      <dgm:prSet loTypeId="urn:microsoft.com/office/officeart/2005/8/layout/vList4#2" loCatId="list" qsTypeId="urn:microsoft.com/office/officeart/2005/8/quickstyle/3d2" qsCatId="3D" csTypeId="urn:microsoft.com/office/officeart/2005/8/colors/colorful3" csCatId="colorful" phldr="1"/>
      <dgm:spPr/>
      <dgm:t>
        <a:bodyPr/>
        <a:lstStyle/>
        <a:p>
          <a:endParaRPr lang="zh-CN" altLang="en-US"/>
        </a:p>
      </dgm:t>
    </dgm:pt>
    <dgm:pt modelId="{FAA4D6B7-D6F2-4790-86D9-7B6668377FC3}">
      <dgm:prSet phldrT="[文本]"/>
      <dgm:spPr/>
      <dgm:t>
        <a:bodyPr/>
        <a:lstStyle/>
        <a:p>
          <a:r>
            <a:rPr lang="en-US" altLang="zh-CN" dirty="0" smtClean="0"/>
            <a:t>jv.chk </a:t>
          </a:r>
          <a:r>
            <a:rPr lang="zh-CN" altLang="en-US" dirty="0" smtClean="0"/>
            <a:t>通过 </a:t>
          </a:r>
          <a:r>
            <a:rPr lang="en-US" altLang="zh-CN" dirty="0" smtClean="0"/>
            <a:t>byteLen </a:t>
          </a:r>
          <a:r>
            <a:rPr lang="zh-CN" altLang="en-US" dirty="0" smtClean="0"/>
            <a:t>方法获取</a:t>
          </a:r>
          <a:r>
            <a:rPr lang="en-US" altLang="zh-CN" dirty="0" smtClean="0"/>
            <a:t>AnsiString </a:t>
          </a:r>
          <a:r>
            <a:rPr lang="zh-CN" altLang="en-US" dirty="0" smtClean="0"/>
            <a:t>的实际字节长度</a:t>
          </a:r>
          <a:endParaRPr lang="zh-CN" altLang="en-US" dirty="0"/>
        </a:p>
      </dgm:t>
    </dgm:pt>
    <dgm:pt modelId="{AD7CE3BB-D8AB-42D0-9024-C7980F0A4453}" type="parTrans" cxnId="{4531A683-9BEB-474D-B9CF-6EB52A16DA70}">
      <dgm:prSet/>
      <dgm:spPr/>
      <dgm:t>
        <a:bodyPr/>
        <a:lstStyle/>
        <a:p>
          <a:endParaRPr lang="zh-CN" altLang="en-US"/>
        </a:p>
      </dgm:t>
    </dgm:pt>
    <dgm:pt modelId="{9E9B07DB-F8C8-4585-B7AA-964D29191CC3}" type="sibTrans" cxnId="{4531A683-9BEB-474D-B9CF-6EB52A16DA70}">
      <dgm:prSet/>
      <dgm:spPr/>
      <dgm:t>
        <a:bodyPr/>
        <a:lstStyle/>
        <a:p>
          <a:endParaRPr lang="zh-CN" altLang="en-US"/>
        </a:p>
      </dgm:t>
    </dgm:pt>
    <dgm:pt modelId="{F942790F-A549-4D4B-97A8-DCDA67C74A5A}">
      <dgm:prSet phldrT="[文本]"/>
      <dgm:spPr/>
      <dgm:t>
        <a:bodyPr/>
        <a:lstStyle/>
        <a:p>
          <a:r>
            <a:rPr lang="en-US" altLang="zh-CN" dirty="0" smtClean="0"/>
            <a:t>dbtype </a:t>
          </a:r>
          <a:r>
            <a:rPr lang="zh-CN" altLang="en-US" dirty="0" smtClean="0"/>
            <a:t>是枚举值，按类型计算出实际 </a:t>
          </a:r>
          <a:r>
            <a:rPr lang="en-US" altLang="zh-CN" dirty="0" smtClean="0"/>
            <a:t>maxlength </a:t>
          </a:r>
          <a:r>
            <a:rPr lang="zh-CN" altLang="en-US" dirty="0" smtClean="0"/>
            <a:t>的值。</a:t>
          </a:r>
          <a:endParaRPr lang="zh-CN" altLang="en-US" dirty="0"/>
        </a:p>
      </dgm:t>
    </dgm:pt>
    <dgm:pt modelId="{8C2B84B7-BCA4-469B-B0DD-02E0DC1A8BFE}" type="parTrans" cxnId="{2CF4CD87-1F48-457F-B451-8ADB8A9315A7}">
      <dgm:prSet/>
      <dgm:spPr/>
      <dgm:t>
        <a:bodyPr/>
        <a:lstStyle/>
        <a:p>
          <a:endParaRPr lang="zh-CN" altLang="en-US"/>
        </a:p>
      </dgm:t>
    </dgm:pt>
    <dgm:pt modelId="{5F8E5B31-220D-4F2D-97B8-008E92F6797F}" type="sibTrans" cxnId="{2CF4CD87-1F48-457F-B451-8ADB8A9315A7}">
      <dgm:prSet/>
      <dgm:spPr/>
      <dgm:t>
        <a:bodyPr/>
        <a:lstStyle/>
        <a:p>
          <a:endParaRPr lang="zh-CN" altLang="en-US"/>
        </a:p>
      </dgm:t>
    </dgm:pt>
    <dgm:pt modelId="{C40DF02D-5F0E-40C3-887F-102A4185FECA}">
      <dgm:prSet phldrT="[文本]"/>
      <dgm:spPr/>
      <dgm:t>
        <a:bodyPr/>
        <a:lstStyle/>
        <a:p>
          <a:r>
            <a:rPr lang="en-US" altLang="zh-CN" dirty="0" smtClean="0"/>
            <a:t>chk</a:t>
          </a:r>
          <a:r>
            <a:rPr lang="zh-CN" altLang="en-US" dirty="0" smtClean="0"/>
            <a:t>属性以 </a:t>
          </a:r>
          <a:r>
            <a:rPr lang="en-US" altLang="zh-CN" dirty="0" smtClean="0"/>
            <a:t>$ </a:t>
          </a:r>
          <a:r>
            <a:rPr lang="zh-CN" altLang="en-US" dirty="0" smtClean="0"/>
            <a:t>开头表示做数据验证，后面写法规则与之前是一样的。</a:t>
          </a:r>
          <a:endParaRPr lang="zh-CN" altLang="en-US" dirty="0"/>
        </a:p>
      </dgm:t>
    </dgm:pt>
    <dgm:pt modelId="{0FEE7155-0029-4D6D-9C04-DC5AAA773710}" type="parTrans" cxnId="{11383EB5-89E2-4C2D-9C67-7C8EA67B52CA}">
      <dgm:prSet/>
      <dgm:spPr/>
      <dgm:t>
        <a:bodyPr/>
        <a:lstStyle/>
        <a:p>
          <a:endParaRPr lang="zh-CN" altLang="en-US"/>
        </a:p>
      </dgm:t>
    </dgm:pt>
    <dgm:pt modelId="{6CB2A4A9-B2A3-416A-857C-1FA1F106985B}" type="sibTrans" cxnId="{11383EB5-89E2-4C2D-9C67-7C8EA67B52CA}">
      <dgm:prSet/>
      <dgm:spPr/>
      <dgm:t>
        <a:bodyPr/>
        <a:lstStyle/>
        <a:p>
          <a:endParaRPr lang="zh-CN" altLang="en-US"/>
        </a:p>
      </dgm:t>
    </dgm:pt>
    <dgm:pt modelId="{0C0FD134-7314-419D-AEAA-59064230123A}" type="pres">
      <dgm:prSet presAssocID="{E4C54A3A-01A4-403D-BBFD-88978E00ECE9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CEC88A05-B4AA-47DB-A8A3-53283676B88A}" type="pres">
      <dgm:prSet presAssocID="{FAA4D6B7-D6F2-4790-86D9-7B6668377FC3}" presName="comp" presStyleCnt="0"/>
      <dgm:spPr/>
    </dgm:pt>
    <dgm:pt modelId="{593EC09D-9794-43AE-8BED-EACAB00E8F6C}" type="pres">
      <dgm:prSet presAssocID="{FAA4D6B7-D6F2-4790-86D9-7B6668377FC3}" presName="box" presStyleLbl="node1" presStyleIdx="0" presStyleCnt="3"/>
      <dgm:spPr/>
      <dgm:t>
        <a:bodyPr/>
        <a:lstStyle/>
        <a:p>
          <a:endParaRPr lang="zh-CN" altLang="en-US"/>
        </a:p>
      </dgm:t>
    </dgm:pt>
    <dgm:pt modelId="{13688BDA-D286-4770-BE20-9427E1D6B339}" type="pres">
      <dgm:prSet presAssocID="{FAA4D6B7-D6F2-4790-86D9-7B6668377FC3}" presName="img" presStyleLbl="fgImgPlace1" presStyleIdx="0" presStyleCnt="3" custScaleX="28801" custLinFactNeighborX="-23525" custLinFactNeighborY="5506"/>
      <dgm:spPr/>
    </dgm:pt>
    <dgm:pt modelId="{B222A8AA-EB42-4FBC-8236-C2E59AA0F727}" type="pres">
      <dgm:prSet presAssocID="{FAA4D6B7-D6F2-4790-86D9-7B6668377FC3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0A5E26F-AE63-45E4-A31C-A902FCBC3FE7}" type="pres">
      <dgm:prSet presAssocID="{9E9B07DB-F8C8-4585-B7AA-964D29191CC3}" presName="spacer" presStyleCnt="0"/>
      <dgm:spPr/>
    </dgm:pt>
    <dgm:pt modelId="{91B8B45E-62D8-4A62-9284-DB42A145CE05}" type="pres">
      <dgm:prSet presAssocID="{F942790F-A549-4D4B-97A8-DCDA67C74A5A}" presName="comp" presStyleCnt="0"/>
      <dgm:spPr/>
    </dgm:pt>
    <dgm:pt modelId="{C7D3381C-0657-4F7A-96E9-75A66D4E6CD1}" type="pres">
      <dgm:prSet presAssocID="{F942790F-A549-4D4B-97A8-DCDA67C74A5A}" presName="box" presStyleLbl="node1" presStyleIdx="1" presStyleCnt="3"/>
      <dgm:spPr/>
      <dgm:t>
        <a:bodyPr/>
        <a:lstStyle/>
        <a:p>
          <a:endParaRPr lang="zh-CN" altLang="en-US"/>
        </a:p>
      </dgm:t>
    </dgm:pt>
    <dgm:pt modelId="{6288F01F-C924-4037-8B37-0F3F0187A128}" type="pres">
      <dgm:prSet presAssocID="{F942790F-A549-4D4B-97A8-DCDA67C74A5A}" presName="img" presStyleLbl="fgImgPlace1" presStyleIdx="1" presStyleCnt="3" custScaleX="26033" custLinFactNeighborX="-23525" custLinFactNeighborY="0"/>
      <dgm:spPr/>
    </dgm:pt>
    <dgm:pt modelId="{8B6AB3E1-0CE6-4484-975D-93B3BB64B731}" type="pres">
      <dgm:prSet presAssocID="{F942790F-A549-4D4B-97A8-DCDA67C74A5A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F226F25-893A-43D9-BCB0-E2FCC2A35C2C}" type="pres">
      <dgm:prSet presAssocID="{5F8E5B31-220D-4F2D-97B8-008E92F6797F}" presName="spacer" presStyleCnt="0"/>
      <dgm:spPr/>
    </dgm:pt>
    <dgm:pt modelId="{3CA7A233-6722-431B-80DD-9151263B9BAD}" type="pres">
      <dgm:prSet presAssocID="{C40DF02D-5F0E-40C3-887F-102A4185FECA}" presName="comp" presStyleCnt="0"/>
      <dgm:spPr/>
    </dgm:pt>
    <dgm:pt modelId="{D2693B5D-E925-4815-B608-C4FA9755DF1F}" type="pres">
      <dgm:prSet presAssocID="{C40DF02D-5F0E-40C3-887F-102A4185FECA}" presName="box" presStyleLbl="node1" presStyleIdx="2" presStyleCnt="3"/>
      <dgm:spPr/>
      <dgm:t>
        <a:bodyPr/>
        <a:lstStyle/>
        <a:p>
          <a:endParaRPr lang="zh-CN" altLang="en-US"/>
        </a:p>
      </dgm:t>
    </dgm:pt>
    <dgm:pt modelId="{C42E9402-A0F4-4550-A50B-0EC4A0A313F3}" type="pres">
      <dgm:prSet presAssocID="{C40DF02D-5F0E-40C3-887F-102A4185FECA}" presName="img" presStyleLbl="fgImgPlace1" presStyleIdx="2" presStyleCnt="3" custScaleX="30185" custLinFactNeighborX="-24218" custLinFactNeighborY="-2753"/>
      <dgm:spPr/>
      <dgm:t>
        <a:bodyPr/>
        <a:lstStyle/>
        <a:p>
          <a:endParaRPr lang="zh-CN" altLang="en-US"/>
        </a:p>
      </dgm:t>
    </dgm:pt>
    <dgm:pt modelId="{BAA19BE6-6B62-4A45-81C2-47424EC35079}" type="pres">
      <dgm:prSet presAssocID="{C40DF02D-5F0E-40C3-887F-102A4185FECA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37DB5344-9DDF-422A-A9C3-6D0139E7AF79}" type="presOf" srcId="{FAA4D6B7-D6F2-4790-86D9-7B6668377FC3}" destId="{593EC09D-9794-43AE-8BED-EACAB00E8F6C}" srcOrd="0" destOrd="0" presId="urn:microsoft.com/office/officeart/2005/8/layout/vList4#2"/>
    <dgm:cxn modelId="{017E6CC6-28BC-4B30-BB63-44093F596E0D}" type="presOf" srcId="{E4C54A3A-01A4-403D-BBFD-88978E00ECE9}" destId="{0C0FD134-7314-419D-AEAA-59064230123A}" srcOrd="0" destOrd="0" presId="urn:microsoft.com/office/officeart/2005/8/layout/vList4#2"/>
    <dgm:cxn modelId="{4531A683-9BEB-474D-B9CF-6EB52A16DA70}" srcId="{E4C54A3A-01A4-403D-BBFD-88978E00ECE9}" destId="{FAA4D6B7-D6F2-4790-86D9-7B6668377FC3}" srcOrd="0" destOrd="0" parTransId="{AD7CE3BB-D8AB-42D0-9024-C7980F0A4453}" sibTransId="{9E9B07DB-F8C8-4585-B7AA-964D29191CC3}"/>
    <dgm:cxn modelId="{1F2D2413-7B6C-43D2-8312-0CAFC6B7A526}" type="presOf" srcId="{C40DF02D-5F0E-40C3-887F-102A4185FECA}" destId="{D2693B5D-E925-4815-B608-C4FA9755DF1F}" srcOrd="0" destOrd="0" presId="urn:microsoft.com/office/officeart/2005/8/layout/vList4#2"/>
    <dgm:cxn modelId="{2CF4CD87-1F48-457F-B451-8ADB8A9315A7}" srcId="{E4C54A3A-01A4-403D-BBFD-88978E00ECE9}" destId="{F942790F-A549-4D4B-97A8-DCDA67C74A5A}" srcOrd="1" destOrd="0" parTransId="{8C2B84B7-BCA4-469B-B0DD-02E0DC1A8BFE}" sibTransId="{5F8E5B31-220D-4F2D-97B8-008E92F6797F}"/>
    <dgm:cxn modelId="{745CFFBF-B879-4CED-AF05-BB3D86568C9D}" type="presOf" srcId="{F942790F-A549-4D4B-97A8-DCDA67C74A5A}" destId="{C7D3381C-0657-4F7A-96E9-75A66D4E6CD1}" srcOrd="0" destOrd="0" presId="urn:microsoft.com/office/officeart/2005/8/layout/vList4#2"/>
    <dgm:cxn modelId="{735318D3-E2B4-47B5-9458-45236682E054}" type="presOf" srcId="{F942790F-A549-4D4B-97A8-DCDA67C74A5A}" destId="{8B6AB3E1-0CE6-4484-975D-93B3BB64B731}" srcOrd="1" destOrd="0" presId="urn:microsoft.com/office/officeart/2005/8/layout/vList4#2"/>
    <dgm:cxn modelId="{2EE128DB-6C73-4DC5-8B67-6D0D63FB8B1D}" type="presOf" srcId="{FAA4D6B7-D6F2-4790-86D9-7B6668377FC3}" destId="{B222A8AA-EB42-4FBC-8236-C2E59AA0F727}" srcOrd="1" destOrd="0" presId="urn:microsoft.com/office/officeart/2005/8/layout/vList4#2"/>
    <dgm:cxn modelId="{3A2D3F88-F5B3-432D-8359-64E436721FA1}" type="presOf" srcId="{C40DF02D-5F0E-40C3-887F-102A4185FECA}" destId="{BAA19BE6-6B62-4A45-81C2-47424EC35079}" srcOrd="1" destOrd="0" presId="urn:microsoft.com/office/officeart/2005/8/layout/vList4#2"/>
    <dgm:cxn modelId="{11383EB5-89E2-4C2D-9C67-7C8EA67B52CA}" srcId="{E4C54A3A-01A4-403D-BBFD-88978E00ECE9}" destId="{C40DF02D-5F0E-40C3-887F-102A4185FECA}" srcOrd="2" destOrd="0" parTransId="{0FEE7155-0029-4D6D-9C04-DC5AAA773710}" sibTransId="{6CB2A4A9-B2A3-416A-857C-1FA1F106985B}"/>
    <dgm:cxn modelId="{C84BC0C3-908F-43FB-84C1-FB80F40E9718}" type="presParOf" srcId="{0C0FD134-7314-419D-AEAA-59064230123A}" destId="{CEC88A05-B4AA-47DB-A8A3-53283676B88A}" srcOrd="0" destOrd="0" presId="urn:microsoft.com/office/officeart/2005/8/layout/vList4#2"/>
    <dgm:cxn modelId="{92A05D4C-B252-4733-8F29-A0DFDC9E2B83}" type="presParOf" srcId="{CEC88A05-B4AA-47DB-A8A3-53283676B88A}" destId="{593EC09D-9794-43AE-8BED-EACAB00E8F6C}" srcOrd="0" destOrd="0" presId="urn:microsoft.com/office/officeart/2005/8/layout/vList4#2"/>
    <dgm:cxn modelId="{0B830676-50FB-4A1B-B19D-BCE5E9466ADB}" type="presParOf" srcId="{CEC88A05-B4AA-47DB-A8A3-53283676B88A}" destId="{13688BDA-D286-4770-BE20-9427E1D6B339}" srcOrd="1" destOrd="0" presId="urn:microsoft.com/office/officeart/2005/8/layout/vList4#2"/>
    <dgm:cxn modelId="{D80FDD48-D967-46BF-A830-CF4502E514D0}" type="presParOf" srcId="{CEC88A05-B4AA-47DB-A8A3-53283676B88A}" destId="{B222A8AA-EB42-4FBC-8236-C2E59AA0F727}" srcOrd="2" destOrd="0" presId="urn:microsoft.com/office/officeart/2005/8/layout/vList4#2"/>
    <dgm:cxn modelId="{C77C4C70-C407-4428-BD0E-7D3F9BF71BBC}" type="presParOf" srcId="{0C0FD134-7314-419D-AEAA-59064230123A}" destId="{20A5E26F-AE63-45E4-A31C-A902FCBC3FE7}" srcOrd="1" destOrd="0" presId="urn:microsoft.com/office/officeart/2005/8/layout/vList4#2"/>
    <dgm:cxn modelId="{CB01246A-AE72-4042-9596-E297A8010748}" type="presParOf" srcId="{0C0FD134-7314-419D-AEAA-59064230123A}" destId="{91B8B45E-62D8-4A62-9284-DB42A145CE05}" srcOrd="2" destOrd="0" presId="urn:microsoft.com/office/officeart/2005/8/layout/vList4#2"/>
    <dgm:cxn modelId="{8D4053B1-C654-4F5D-8C11-CB4F18C59E5C}" type="presParOf" srcId="{91B8B45E-62D8-4A62-9284-DB42A145CE05}" destId="{C7D3381C-0657-4F7A-96E9-75A66D4E6CD1}" srcOrd="0" destOrd="0" presId="urn:microsoft.com/office/officeart/2005/8/layout/vList4#2"/>
    <dgm:cxn modelId="{C077CD3B-E716-4E61-A83B-43B392B7CE6C}" type="presParOf" srcId="{91B8B45E-62D8-4A62-9284-DB42A145CE05}" destId="{6288F01F-C924-4037-8B37-0F3F0187A128}" srcOrd="1" destOrd="0" presId="urn:microsoft.com/office/officeart/2005/8/layout/vList4#2"/>
    <dgm:cxn modelId="{B03D9024-262E-465B-A19C-968947C2F3A3}" type="presParOf" srcId="{91B8B45E-62D8-4A62-9284-DB42A145CE05}" destId="{8B6AB3E1-0CE6-4484-975D-93B3BB64B731}" srcOrd="2" destOrd="0" presId="urn:microsoft.com/office/officeart/2005/8/layout/vList4#2"/>
    <dgm:cxn modelId="{863E08A2-F7A6-4D5D-9C96-B4F4E9CE2224}" type="presParOf" srcId="{0C0FD134-7314-419D-AEAA-59064230123A}" destId="{CF226F25-893A-43D9-BCB0-E2FCC2A35C2C}" srcOrd="3" destOrd="0" presId="urn:microsoft.com/office/officeart/2005/8/layout/vList4#2"/>
    <dgm:cxn modelId="{A0F3BC6C-B5BE-4E60-B53C-EB3A4DEF73A1}" type="presParOf" srcId="{0C0FD134-7314-419D-AEAA-59064230123A}" destId="{3CA7A233-6722-431B-80DD-9151263B9BAD}" srcOrd="4" destOrd="0" presId="urn:microsoft.com/office/officeart/2005/8/layout/vList4#2"/>
    <dgm:cxn modelId="{143E79DD-5B5C-41D2-8D26-1733B9850D5D}" type="presParOf" srcId="{3CA7A233-6722-431B-80DD-9151263B9BAD}" destId="{D2693B5D-E925-4815-B608-C4FA9755DF1F}" srcOrd="0" destOrd="0" presId="urn:microsoft.com/office/officeart/2005/8/layout/vList4#2"/>
    <dgm:cxn modelId="{5958F206-37D0-436A-BB9B-D3438469908C}" type="presParOf" srcId="{3CA7A233-6722-431B-80DD-9151263B9BAD}" destId="{C42E9402-A0F4-4550-A50B-0EC4A0A313F3}" srcOrd="1" destOrd="0" presId="urn:microsoft.com/office/officeart/2005/8/layout/vList4#2"/>
    <dgm:cxn modelId="{F6C1B330-2DE7-4FC6-AA04-FDC7A043E69A}" type="presParOf" srcId="{3CA7A233-6722-431B-80DD-9151263B9BAD}" destId="{BAA19BE6-6B62-4A45-81C2-47424EC35079}" srcOrd="2" destOrd="0" presId="urn:microsoft.com/office/officeart/2005/8/layout/vList4#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E1164C01-52FA-411A-B320-0D23FD1F985B}" type="doc">
      <dgm:prSet loTypeId="urn:microsoft.com/office/officeart/2005/8/layout/hierarchy1" loCatId="hierarchy" qsTypeId="urn:microsoft.com/office/officeart/2005/8/quickstyle/3d2" qsCatId="3D" csTypeId="urn:microsoft.com/office/officeart/2005/8/colors/colorful3" csCatId="colorful" phldr="1"/>
      <dgm:spPr/>
      <dgm:t>
        <a:bodyPr/>
        <a:lstStyle/>
        <a:p>
          <a:endParaRPr lang="zh-CN" altLang="en-US"/>
        </a:p>
      </dgm:t>
    </dgm:pt>
    <dgm:pt modelId="{35933C56-D1A4-469F-B4C1-E2528B727243}">
      <dgm:prSet phldrT="[文本]"/>
      <dgm:spPr/>
      <dgm:t>
        <a:bodyPr/>
        <a:lstStyle/>
        <a:p>
          <a:r>
            <a:rPr lang="zh-CN" altLang="en-US" dirty="0" smtClean="0"/>
            <a:t>通用权限</a:t>
          </a:r>
          <a:endParaRPr lang="zh-CN" altLang="en-US" dirty="0"/>
        </a:p>
      </dgm:t>
    </dgm:pt>
    <dgm:pt modelId="{7CAD4074-4BD6-47C5-8C2E-4CAAEBD44A96}" type="parTrans" cxnId="{7C7B2F4B-317B-4C2C-ACE9-8E3C90C24018}">
      <dgm:prSet/>
      <dgm:spPr/>
      <dgm:t>
        <a:bodyPr/>
        <a:lstStyle/>
        <a:p>
          <a:endParaRPr lang="zh-CN" altLang="en-US"/>
        </a:p>
      </dgm:t>
    </dgm:pt>
    <dgm:pt modelId="{71BE69B7-36FA-426A-8FDC-CD3CBCFF1E07}" type="sibTrans" cxnId="{7C7B2F4B-317B-4C2C-ACE9-8E3C90C24018}">
      <dgm:prSet/>
      <dgm:spPr/>
      <dgm:t>
        <a:bodyPr/>
        <a:lstStyle/>
        <a:p>
          <a:endParaRPr lang="zh-CN" altLang="en-US"/>
        </a:p>
      </dgm:t>
    </dgm:pt>
    <dgm:pt modelId="{1852D16F-29BB-4F6F-B4FA-EB540A9BB26D}">
      <dgm:prSet phldrT="[文本]"/>
      <dgm:spPr/>
      <dgm:t>
        <a:bodyPr/>
        <a:lstStyle/>
        <a:p>
          <a:r>
            <a:rPr lang="zh-CN" altLang="en-US" dirty="0" smtClean="0"/>
            <a:t>行集（菜单）</a:t>
          </a:r>
          <a:endParaRPr lang="zh-CN" altLang="en-US" dirty="0"/>
        </a:p>
      </dgm:t>
    </dgm:pt>
    <dgm:pt modelId="{716751FC-8445-45E2-8ED2-B91FCBF14BF9}" type="parTrans" cxnId="{3DA2B7F5-3386-4F7E-AE4A-2DE3F844CB4D}">
      <dgm:prSet/>
      <dgm:spPr/>
      <dgm:t>
        <a:bodyPr/>
        <a:lstStyle/>
        <a:p>
          <a:endParaRPr lang="zh-CN" altLang="en-US"/>
        </a:p>
      </dgm:t>
    </dgm:pt>
    <dgm:pt modelId="{663A6B1E-A154-48F3-A85E-A847DCC9E9A1}" type="sibTrans" cxnId="{3DA2B7F5-3386-4F7E-AE4A-2DE3F844CB4D}">
      <dgm:prSet/>
      <dgm:spPr/>
      <dgm:t>
        <a:bodyPr/>
        <a:lstStyle/>
        <a:p>
          <a:endParaRPr lang="zh-CN" altLang="en-US"/>
        </a:p>
      </dgm:t>
    </dgm:pt>
    <dgm:pt modelId="{447CCEBF-39C0-40CF-9B13-578848D85D50}">
      <dgm:prSet phldrT="[文本]"/>
      <dgm:spPr/>
      <dgm:t>
        <a:bodyPr/>
        <a:lstStyle/>
        <a:p>
          <a:r>
            <a:rPr lang="zh-CN" altLang="en-US" dirty="0" smtClean="0"/>
            <a:t>修改</a:t>
          </a:r>
          <a:endParaRPr lang="zh-CN" altLang="en-US" dirty="0"/>
        </a:p>
      </dgm:t>
    </dgm:pt>
    <dgm:pt modelId="{68F3A524-6FF0-4F4B-BE49-ACE3B60DDD0F}" type="parTrans" cxnId="{DA963CAF-2413-4DFB-A21C-5A6492D22295}">
      <dgm:prSet/>
      <dgm:spPr/>
      <dgm:t>
        <a:bodyPr/>
        <a:lstStyle/>
        <a:p>
          <a:endParaRPr lang="zh-CN" altLang="en-US"/>
        </a:p>
      </dgm:t>
    </dgm:pt>
    <dgm:pt modelId="{D4A01E98-3AD2-49BF-BE8C-04B40BFD13CE}" type="sibTrans" cxnId="{DA963CAF-2413-4DFB-A21C-5A6492D22295}">
      <dgm:prSet/>
      <dgm:spPr/>
      <dgm:t>
        <a:bodyPr/>
        <a:lstStyle/>
        <a:p>
          <a:endParaRPr lang="zh-CN" altLang="en-US"/>
        </a:p>
      </dgm:t>
    </dgm:pt>
    <dgm:pt modelId="{6B9CFE00-18C9-4BDD-8D31-156F8027FDA8}">
      <dgm:prSet phldrT="[文本]"/>
      <dgm:spPr/>
      <dgm:t>
        <a:bodyPr/>
        <a:lstStyle/>
        <a:p>
          <a:r>
            <a:rPr lang="zh-CN" altLang="en-US" dirty="0" smtClean="0"/>
            <a:t>界面</a:t>
          </a:r>
          <a:endParaRPr lang="zh-CN" altLang="en-US" dirty="0"/>
        </a:p>
      </dgm:t>
    </dgm:pt>
    <dgm:pt modelId="{EC6D5BF0-7C1E-4355-A13F-9ED93F7F69D5}" type="parTrans" cxnId="{B34CA2AC-84D1-407F-B32E-2251C6EA4B50}">
      <dgm:prSet/>
      <dgm:spPr/>
      <dgm:t>
        <a:bodyPr/>
        <a:lstStyle/>
        <a:p>
          <a:endParaRPr lang="zh-CN" altLang="en-US"/>
        </a:p>
      </dgm:t>
    </dgm:pt>
    <dgm:pt modelId="{4183A8BD-19DE-4D4B-AD8B-0DB7C47E338B}" type="sibTrans" cxnId="{B34CA2AC-84D1-407F-B32E-2251C6EA4B50}">
      <dgm:prSet/>
      <dgm:spPr/>
      <dgm:t>
        <a:bodyPr/>
        <a:lstStyle/>
        <a:p>
          <a:endParaRPr lang="zh-CN" altLang="en-US"/>
        </a:p>
      </dgm:t>
    </dgm:pt>
    <dgm:pt modelId="{E85F89AA-EC58-4496-A898-14C9D76A7A57}">
      <dgm:prSet phldrT="[文本]"/>
      <dgm:spPr/>
      <dgm:t>
        <a:bodyPr/>
        <a:lstStyle/>
        <a:p>
          <a:r>
            <a:rPr lang="zh-CN" altLang="en-US" dirty="0" smtClean="0"/>
            <a:t>页面</a:t>
          </a:r>
          <a:endParaRPr lang="zh-CN" altLang="en-US" dirty="0"/>
        </a:p>
      </dgm:t>
    </dgm:pt>
    <dgm:pt modelId="{0E73B448-82C2-4DC3-BFF7-A5A81DC3711E}" type="parTrans" cxnId="{0514E996-AEAF-4B0B-B268-920D491D6238}">
      <dgm:prSet/>
      <dgm:spPr/>
      <dgm:t>
        <a:bodyPr/>
        <a:lstStyle/>
        <a:p>
          <a:endParaRPr lang="zh-CN" altLang="en-US"/>
        </a:p>
      </dgm:t>
    </dgm:pt>
    <dgm:pt modelId="{CB2A7081-556E-446B-B435-F4642EF2BAB8}" type="sibTrans" cxnId="{0514E996-AEAF-4B0B-B268-920D491D6238}">
      <dgm:prSet/>
      <dgm:spPr/>
      <dgm:t>
        <a:bodyPr/>
        <a:lstStyle/>
        <a:p>
          <a:endParaRPr lang="zh-CN" altLang="en-US"/>
        </a:p>
      </dgm:t>
    </dgm:pt>
    <dgm:pt modelId="{09569BE7-248B-4E77-9E74-AB9A1A6E86F4}">
      <dgm:prSet phldrT="[文本]"/>
      <dgm:spPr/>
      <dgm:t>
        <a:bodyPr/>
        <a:lstStyle/>
        <a:p>
          <a:r>
            <a:rPr lang="zh-CN" altLang="en-US" dirty="0" smtClean="0"/>
            <a:t>按钮</a:t>
          </a:r>
          <a:endParaRPr lang="zh-CN" altLang="en-US" dirty="0"/>
        </a:p>
      </dgm:t>
    </dgm:pt>
    <dgm:pt modelId="{5AF0A11F-5082-4A09-BAB4-A44818A4BA9F}" type="parTrans" cxnId="{A74293E8-73F4-4269-B5D8-79983440E186}">
      <dgm:prSet/>
      <dgm:spPr/>
      <dgm:t>
        <a:bodyPr/>
        <a:lstStyle/>
        <a:p>
          <a:endParaRPr lang="zh-CN" altLang="en-US"/>
        </a:p>
      </dgm:t>
    </dgm:pt>
    <dgm:pt modelId="{21DEFA74-1DFC-4EFC-99A9-8DC44618FB29}" type="sibTrans" cxnId="{A74293E8-73F4-4269-B5D8-79983440E186}">
      <dgm:prSet/>
      <dgm:spPr/>
      <dgm:t>
        <a:bodyPr/>
        <a:lstStyle/>
        <a:p>
          <a:endParaRPr lang="zh-CN" altLang="en-US"/>
        </a:p>
      </dgm:t>
    </dgm:pt>
    <dgm:pt modelId="{74D090FA-EF9A-45C6-8BB3-F7121B35D162}">
      <dgm:prSet phldrT="[文本]"/>
      <dgm:spPr/>
      <dgm:t>
        <a:bodyPr/>
        <a:lstStyle/>
        <a:p>
          <a:r>
            <a:rPr lang="zh-CN" altLang="en-US" dirty="0" smtClean="0"/>
            <a:t>查看</a:t>
          </a:r>
          <a:endParaRPr lang="zh-CN" altLang="en-US" dirty="0"/>
        </a:p>
      </dgm:t>
    </dgm:pt>
    <dgm:pt modelId="{3BBCF260-C20B-4BF5-89F3-E5551B3C1430}" type="parTrans" cxnId="{F509C55F-882A-4F43-AEA1-370328731FC8}">
      <dgm:prSet/>
      <dgm:spPr/>
      <dgm:t>
        <a:bodyPr/>
        <a:lstStyle/>
        <a:p>
          <a:endParaRPr lang="zh-CN" altLang="en-US"/>
        </a:p>
      </dgm:t>
    </dgm:pt>
    <dgm:pt modelId="{A89765C9-9C71-4757-8B08-B85BEF6A76CD}" type="sibTrans" cxnId="{F509C55F-882A-4F43-AEA1-370328731FC8}">
      <dgm:prSet/>
      <dgm:spPr/>
      <dgm:t>
        <a:bodyPr/>
        <a:lstStyle/>
        <a:p>
          <a:endParaRPr lang="zh-CN" altLang="en-US"/>
        </a:p>
      </dgm:t>
    </dgm:pt>
    <dgm:pt modelId="{95BDC7F7-C4DD-40F6-9F85-724452768EDB}">
      <dgm:prSet phldrT="[文本]"/>
      <dgm:spPr/>
      <dgm:t>
        <a:bodyPr/>
        <a:lstStyle/>
        <a:p>
          <a:r>
            <a:rPr lang="zh-CN" altLang="en-US" dirty="0" smtClean="0"/>
            <a:t>删除</a:t>
          </a:r>
          <a:endParaRPr lang="zh-CN" altLang="en-US" dirty="0"/>
        </a:p>
      </dgm:t>
    </dgm:pt>
    <dgm:pt modelId="{D34A090C-E596-46D1-BE18-982BFB91F801}" type="parTrans" cxnId="{C22706D8-7701-4E25-9AEE-BD59ED61A643}">
      <dgm:prSet/>
      <dgm:spPr/>
      <dgm:t>
        <a:bodyPr/>
        <a:lstStyle/>
        <a:p>
          <a:endParaRPr lang="zh-CN" altLang="en-US"/>
        </a:p>
      </dgm:t>
    </dgm:pt>
    <dgm:pt modelId="{CDE3DCEA-6600-4306-A854-81E7A8A2D9A4}" type="sibTrans" cxnId="{C22706D8-7701-4E25-9AEE-BD59ED61A643}">
      <dgm:prSet/>
      <dgm:spPr/>
      <dgm:t>
        <a:bodyPr/>
        <a:lstStyle/>
        <a:p>
          <a:endParaRPr lang="zh-CN" altLang="en-US"/>
        </a:p>
      </dgm:t>
    </dgm:pt>
    <dgm:pt modelId="{B4FA3C8E-0DB2-4BEB-A5F3-9E70CF542ACD}" type="pres">
      <dgm:prSet presAssocID="{E1164C01-52FA-411A-B320-0D23FD1F985B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zh-CN" altLang="en-US"/>
        </a:p>
      </dgm:t>
    </dgm:pt>
    <dgm:pt modelId="{1E67B887-DB80-45A9-AE5B-37872990432A}" type="pres">
      <dgm:prSet presAssocID="{35933C56-D1A4-469F-B4C1-E2528B727243}" presName="hierRoot1" presStyleCnt="0"/>
      <dgm:spPr/>
    </dgm:pt>
    <dgm:pt modelId="{D009D1B7-658C-45A7-BD93-87161D0337B8}" type="pres">
      <dgm:prSet presAssocID="{35933C56-D1A4-469F-B4C1-E2528B727243}" presName="composite" presStyleCnt="0"/>
      <dgm:spPr/>
    </dgm:pt>
    <dgm:pt modelId="{5BCCD3AA-B97A-4B06-AA75-47333A203867}" type="pres">
      <dgm:prSet presAssocID="{35933C56-D1A4-469F-B4C1-E2528B727243}" presName="background" presStyleLbl="node0" presStyleIdx="0" presStyleCnt="1"/>
      <dgm:spPr>
        <a:solidFill>
          <a:schemeClr val="accent1">
            <a:lumMod val="50000"/>
          </a:schemeClr>
        </a:solidFill>
      </dgm:spPr>
    </dgm:pt>
    <dgm:pt modelId="{3C9406DF-E6D1-4C9A-96A6-BA3668106101}" type="pres">
      <dgm:prSet presAssocID="{35933C56-D1A4-469F-B4C1-E2528B727243}" presName="text" presStyleLbl="fgAcc0" presStyleIdx="0" presStyleCnt="1" custScaleY="75170" custLinFactNeighborX="-2936" custLinFactNeighborY="-34990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627A8B5C-D780-47B4-9677-C9070192C0D0}" type="pres">
      <dgm:prSet presAssocID="{35933C56-D1A4-469F-B4C1-E2528B727243}" presName="hierChild2" presStyleCnt="0"/>
      <dgm:spPr/>
    </dgm:pt>
    <dgm:pt modelId="{1957FB12-77F3-4DE7-A849-E0406DCB7123}" type="pres">
      <dgm:prSet presAssocID="{716751FC-8445-45E2-8ED2-B91FCBF14BF9}" presName="Name10" presStyleLbl="parChTrans1D2" presStyleIdx="0" presStyleCnt="2"/>
      <dgm:spPr/>
      <dgm:t>
        <a:bodyPr/>
        <a:lstStyle/>
        <a:p>
          <a:endParaRPr lang="zh-CN" altLang="en-US"/>
        </a:p>
      </dgm:t>
    </dgm:pt>
    <dgm:pt modelId="{A61D58AF-F3C2-4CE2-9C9D-C68D7D47A042}" type="pres">
      <dgm:prSet presAssocID="{1852D16F-29BB-4F6F-B4FA-EB540A9BB26D}" presName="hierRoot2" presStyleCnt="0"/>
      <dgm:spPr/>
    </dgm:pt>
    <dgm:pt modelId="{AC36C19B-B5D6-4001-9E28-720018659046}" type="pres">
      <dgm:prSet presAssocID="{1852D16F-29BB-4F6F-B4FA-EB540A9BB26D}" presName="composite2" presStyleCnt="0"/>
      <dgm:spPr/>
    </dgm:pt>
    <dgm:pt modelId="{9A31AD0B-F786-4698-95BF-CA159A017414}" type="pres">
      <dgm:prSet presAssocID="{1852D16F-29BB-4F6F-B4FA-EB540A9BB26D}" presName="background2" presStyleLbl="node2" presStyleIdx="0" presStyleCnt="2"/>
      <dgm:spPr>
        <a:solidFill>
          <a:schemeClr val="tx2">
            <a:lumMod val="60000"/>
            <a:lumOff val="40000"/>
          </a:schemeClr>
        </a:solidFill>
      </dgm:spPr>
    </dgm:pt>
    <dgm:pt modelId="{550CCE41-0F5E-40BD-9DFC-C8EE89062E0A}" type="pres">
      <dgm:prSet presAssocID="{1852D16F-29BB-4F6F-B4FA-EB540A9BB26D}" presName="text2" presStyleLbl="fgAcc2" presStyleIdx="0" presStyleCnt="2" custScaleX="130225" custScaleY="75170" custLinFactNeighborX="1058" custLinFactNeighborY="-23326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7315D040-134F-4E5F-B6C6-4DF17760C7CA}" type="pres">
      <dgm:prSet presAssocID="{1852D16F-29BB-4F6F-B4FA-EB540A9BB26D}" presName="hierChild3" presStyleCnt="0"/>
      <dgm:spPr/>
    </dgm:pt>
    <dgm:pt modelId="{1518C37A-90B7-43F7-A04C-E5D68555C633}" type="pres">
      <dgm:prSet presAssocID="{3BBCF260-C20B-4BF5-89F3-E5551B3C1430}" presName="Name17" presStyleLbl="parChTrans1D3" presStyleIdx="0" presStyleCnt="5"/>
      <dgm:spPr/>
      <dgm:t>
        <a:bodyPr/>
        <a:lstStyle/>
        <a:p>
          <a:endParaRPr lang="zh-CN" altLang="en-US"/>
        </a:p>
      </dgm:t>
    </dgm:pt>
    <dgm:pt modelId="{9173A2F3-E1CB-41A6-BF23-9F54F9E12CFB}" type="pres">
      <dgm:prSet presAssocID="{74D090FA-EF9A-45C6-8BB3-F7121B35D162}" presName="hierRoot3" presStyleCnt="0"/>
      <dgm:spPr/>
    </dgm:pt>
    <dgm:pt modelId="{E1840A76-0AD2-48FD-91AA-E2DAC27A45D3}" type="pres">
      <dgm:prSet presAssocID="{74D090FA-EF9A-45C6-8BB3-F7121B35D162}" presName="composite3" presStyleCnt="0"/>
      <dgm:spPr/>
    </dgm:pt>
    <dgm:pt modelId="{0D135BE1-4F29-457A-BB06-F488ED6E0479}" type="pres">
      <dgm:prSet presAssocID="{74D090FA-EF9A-45C6-8BB3-F7121B35D162}" presName="background3" presStyleLbl="node3" presStyleIdx="0" presStyleCnt="5"/>
      <dgm:spPr>
        <a:solidFill>
          <a:srgbClr val="00B050"/>
        </a:solidFill>
      </dgm:spPr>
    </dgm:pt>
    <dgm:pt modelId="{FCE811CA-639A-4634-9902-5BB5F02CA825}" type="pres">
      <dgm:prSet presAssocID="{74D090FA-EF9A-45C6-8BB3-F7121B35D162}" presName="text3" presStyleLbl="fgAcc3" presStyleIdx="0" presStyleCnt="5" custScaleY="75170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2169A359-BBE1-4415-B4E6-B6C665508602}" type="pres">
      <dgm:prSet presAssocID="{74D090FA-EF9A-45C6-8BB3-F7121B35D162}" presName="hierChild4" presStyleCnt="0"/>
      <dgm:spPr/>
    </dgm:pt>
    <dgm:pt modelId="{10062B03-86C8-49B7-A59B-E1925D4257B6}" type="pres">
      <dgm:prSet presAssocID="{68F3A524-6FF0-4F4B-BE49-ACE3B60DDD0F}" presName="Name17" presStyleLbl="parChTrans1D3" presStyleIdx="1" presStyleCnt="5"/>
      <dgm:spPr/>
      <dgm:t>
        <a:bodyPr/>
        <a:lstStyle/>
        <a:p>
          <a:endParaRPr lang="zh-CN" altLang="en-US"/>
        </a:p>
      </dgm:t>
    </dgm:pt>
    <dgm:pt modelId="{1AA2115F-3683-4BA1-893D-CE4F96307A75}" type="pres">
      <dgm:prSet presAssocID="{447CCEBF-39C0-40CF-9B13-578848D85D50}" presName="hierRoot3" presStyleCnt="0"/>
      <dgm:spPr/>
    </dgm:pt>
    <dgm:pt modelId="{CF824D61-9B61-4566-B3B4-70B4CC3FBEF5}" type="pres">
      <dgm:prSet presAssocID="{447CCEBF-39C0-40CF-9B13-578848D85D50}" presName="composite3" presStyleCnt="0"/>
      <dgm:spPr/>
    </dgm:pt>
    <dgm:pt modelId="{6536ACE3-708A-43AC-B6EB-BDB48999ABD4}" type="pres">
      <dgm:prSet presAssocID="{447CCEBF-39C0-40CF-9B13-578848D85D50}" presName="background3" presStyleLbl="node3" presStyleIdx="1" presStyleCnt="5"/>
      <dgm:spPr>
        <a:solidFill>
          <a:srgbClr val="00B050"/>
        </a:solidFill>
      </dgm:spPr>
    </dgm:pt>
    <dgm:pt modelId="{48EBDFD1-43CB-49BF-A8AA-7C7878BB70B3}" type="pres">
      <dgm:prSet presAssocID="{447CCEBF-39C0-40CF-9B13-578848D85D50}" presName="text3" presStyleLbl="fgAcc3" presStyleIdx="1" presStyleCnt="5" custScaleY="75170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13060137-3926-48B7-957B-0E2D3894C732}" type="pres">
      <dgm:prSet presAssocID="{447CCEBF-39C0-40CF-9B13-578848D85D50}" presName="hierChild4" presStyleCnt="0"/>
      <dgm:spPr/>
    </dgm:pt>
    <dgm:pt modelId="{309720F9-50A8-474E-A503-F67B63C05B31}" type="pres">
      <dgm:prSet presAssocID="{D34A090C-E596-46D1-BE18-982BFB91F801}" presName="Name17" presStyleLbl="parChTrans1D3" presStyleIdx="2" presStyleCnt="5"/>
      <dgm:spPr/>
      <dgm:t>
        <a:bodyPr/>
        <a:lstStyle/>
        <a:p>
          <a:endParaRPr lang="zh-CN" altLang="en-US"/>
        </a:p>
      </dgm:t>
    </dgm:pt>
    <dgm:pt modelId="{1D211765-8081-4C3C-9838-632AC57D05C5}" type="pres">
      <dgm:prSet presAssocID="{95BDC7F7-C4DD-40F6-9F85-724452768EDB}" presName="hierRoot3" presStyleCnt="0"/>
      <dgm:spPr/>
    </dgm:pt>
    <dgm:pt modelId="{D2290D27-CDC5-4228-B079-4CCF350CC793}" type="pres">
      <dgm:prSet presAssocID="{95BDC7F7-C4DD-40F6-9F85-724452768EDB}" presName="composite3" presStyleCnt="0"/>
      <dgm:spPr/>
    </dgm:pt>
    <dgm:pt modelId="{7CFAEF64-E15C-405C-828F-B813E75D8AB7}" type="pres">
      <dgm:prSet presAssocID="{95BDC7F7-C4DD-40F6-9F85-724452768EDB}" presName="background3" presStyleLbl="node3" presStyleIdx="2" presStyleCnt="5"/>
      <dgm:spPr>
        <a:solidFill>
          <a:srgbClr val="00B050"/>
        </a:solidFill>
      </dgm:spPr>
    </dgm:pt>
    <dgm:pt modelId="{7108C5BD-DC11-41A7-83C0-D476B8D54FD0}" type="pres">
      <dgm:prSet presAssocID="{95BDC7F7-C4DD-40F6-9F85-724452768EDB}" presName="text3" presStyleLbl="fgAcc3" presStyleIdx="2" presStyleCnt="5" custScaleY="75170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7A9435C8-DD31-413E-A4B7-B19DB6342569}" type="pres">
      <dgm:prSet presAssocID="{95BDC7F7-C4DD-40F6-9F85-724452768EDB}" presName="hierChild4" presStyleCnt="0"/>
      <dgm:spPr/>
    </dgm:pt>
    <dgm:pt modelId="{24722139-6B3B-42DF-88E8-2AF57380205C}" type="pres">
      <dgm:prSet presAssocID="{EC6D5BF0-7C1E-4355-A13F-9ED93F7F69D5}" presName="Name10" presStyleLbl="parChTrans1D2" presStyleIdx="1" presStyleCnt="2"/>
      <dgm:spPr/>
      <dgm:t>
        <a:bodyPr/>
        <a:lstStyle/>
        <a:p>
          <a:endParaRPr lang="zh-CN" altLang="en-US"/>
        </a:p>
      </dgm:t>
    </dgm:pt>
    <dgm:pt modelId="{59F206A3-2A67-4FA4-B223-3331D9A76663}" type="pres">
      <dgm:prSet presAssocID="{6B9CFE00-18C9-4BDD-8D31-156F8027FDA8}" presName="hierRoot2" presStyleCnt="0"/>
      <dgm:spPr/>
    </dgm:pt>
    <dgm:pt modelId="{96C32942-2755-42D2-92C0-D17F622DCF6B}" type="pres">
      <dgm:prSet presAssocID="{6B9CFE00-18C9-4BDD-8D31-156F8027FDA8}" presName="composite2" presStyleCnt="0"/>
      <dgm:spPr/>
    </dgm:pt>
    <dgm:pt modelId="{04EDD9FE-0295-40A3-A4BD-555EBCA45260}" type="pres">
      <dgm:prSet presAssocID="{6B9CFE00-18C9-4BDD-8D31-156F8027FDA8}" presName="background2" presStyleLbl="node2" presStyleIdx="1" presStyleCnt="2"/>
      <dgm:spPr>
        <a:solidFill>
          <a:schemeClr val="tx2">
            <a:lumMod val="60000"/>
            <a:lumOff val="40000"/>
          </a:schemeClr>
        </a:solidFill>
      </dgm:spPr>
    </dgm:pt>
    <dgm:pt modelId="{608E30BE-B602-489C-B919-BC0F749E9F79}" type="pres">
      <dgm:prSet presAssocID="{6B9CFE00-18C9-4BDD-8D31-156F8027FDA8}" presName="text2" presStyleLbl="fgAcc2" presStyleIdx="1" presStyleCnt="2" custScaleY="75170" custLinFactNeighborX="1058" custLinFactNeighborY="-23326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9960143D-DC49-4145-B340-3C8E447D22DB}" type="pres">
      <dgm:prSet presAssocID="{6B9CFE00-18C9-4BDD-8D31-156F8027FDA8}" presName="hierChild3" presStyleCnt="0"/>
      <dgm:spPr/>
    </dgm:pt>
    <dgm:pt modelId="{B570ADA0-9A89-4CEC-897D-963EE13773C2}" type="pres">
      <dgm:prSet presAssocID="{0E73B448-82C2-4DC3-BFF7-A5A81DC3711E}" presName="Name17" presStyleLbl="parChTrans1D3" presStyleIdx="3" presStyleCnt="5"/>
      <dgm:spPr/>
      <dgm:t>
        <a:bodyPr/>
        <a:lstStyle/>
        <a:p>
          <a:endParaRPr lang="zh-CN" altLang="en-US"/>
        </a:p>
      </dgm:t>
    </dgm:pt>
    <dgm:pt modelId="{BD2F0930-B56D-40FA-862D-9118C5A4B11F}" type="pres">
      <dgm:prSet presAssocID="{E85F89AA-EC58-4496-A898-14C9D76A7A57}" presName="hierRoot3" presStyleCnt="0"/>
      <dgm:spPr/>
    </dgm:pt>
    <dgm:pt modelId="{D3FDD267-1496-4DD1-9496-E8D6445FA495}" type="pres">
      <dgm:prSet presAssocID="{E85F89AA-EC58-4496-A898-14C9D76A7A57}" presName="composite3" presStyleCnt="0"/>
      <dgm:spPr/>
    </dgm:pt>
    <dgm:pt modelId="{DB48C750-EE16-4BE9-9513-3A3A87638071}" type="pres">
      <dgm:prSet presAssocID="{E85F89AA-EC58-4496-A898-14C9D76A7A57}" presName="background3" presStyleLbl="node3" presStyleIdx="3" presStyleCnt="5"/>
      <dgm:spPr>
        <a:solidFill>
          <a:schemeClr val="accent4">
            <a:lumMod val="75000"/>
          </a:schemeClr>
        </a:solidFill>
      </dgm:spPr>
    </dgm:pt>
    <dgm:pt modelId="{6EB139C6-20A5-4F9F-855A-5C8D54D64A30}" type="pres">
      <dgm:prSet presAssocID="{E85F89AA-EC58-4496-A898-14C9D76A7A57}" presName="text3" presStyleLbl="fgAcc3" presStyleIdx="3" presStyleCnt="5" custScaleY="75170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30895537-8666-43CE-BEEA-F1F2773BF5F8}" type="pres">
      <dgm:prSet presAssocID="{E85F89AA-EC58-4496-A898-14C9D76A7A57}" presName="hierChild4" presStyleCnt="0"/>
      <dgm:spPr/>
    </dgm:pt>
    <dgm:pt modelId="{5ADD6CCB-44FC-4C43-B3C9-0D62F6113FAB}" type="pres">
      <dgm:prSet presAssocID="{5AF0A11F-5082-4A09-BAB4-A44818A4BA9F}" presName="Name17" presStyleLbl="parChTrans1D3" presStyleIdx="4" presStyleCnt="5"/>
      <dgm:spPr/>
      <dgm:t>
        <a:bodyPr/>
        <a:lstStyle/>
        <a:p>
          <a:endParaRPr lang="zh-CN" altLang="en-US"/>
        </a:p>
      </dgm:t>
    </dgm:pt>
    <dgm:pt modelId="{F043528C-A25B-48F9-87AF-01F7D4DECCA9}" type="pres">
      <dgm:prSet presAssocID="{09569BE7-248B-4E77-9E74-AB9A1A6E86F4}" presName="hierRoot3" presStyleCnt="0"/>
      <dgm:spPr/>
    </dgm:pt>
    <dgm:pt modelId="{FD219699-58E2-4CF6-8F38-341F2B2830AB}" type="pres">
      <dgm:prSet presAssocID="{09569BE7-248B-4E77-9E74-AB9A1A6E86F4}" presName="composite3" presStyleCnt="0"/>
      <dgm:spPr/>
    </dgm:pt>
    <dgm:pt modelId="{FB987761-B838-401D-947D-AC1D71A70CBD}" type="pres">
      <dgm:prSet presAssocID="{09569BE7-248B-4E77-9E74-AB9A1A6E86F4}" presName="background3" presStyleLbl="node3" presStyleIdx="4" presStyleCnt="5"/>
      <dgm:spPr>
        <a:solidFill>
          <a:schemeClr val="accent4">
            <a:lumMod val="75000"/>
          </a:schemeClr>
        </a:solidFill>
      </dgm:spPr>
    </dgm:pt>
    <dgm:pt modelId="{86A078AD-9487-4289-A914-6033C949CB35}" type="pres">
      <dgm:prSet presAssocID="{09569BE7-248B-4E77-9E74-AB9A1A6E86F4}" presName="text3" presStyleLbl="fgAcc3" presStyleIdx="4" presStyleCnt="5" custScaleY="75170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6C2DB4AD-069D-49C9-9EA1-027B90A1E094}" type="pres">
      <dgm:prSet presAssocID="{09569BE7-248B-4E77-9E74-AB9A1A6E86F4}" presName="hierChild4" presStyleCnt="0"/>
      <dgm:spPr/>
    </dgm:pt>
  </dgm:ptLst>
  <dgm:cxnLst>
    <dgm:cxn modelId="{C22706D8-7701-4E25-9AEE-BD59ED61A643}" srcId="{1852D16F-29BB-4F6F-B4FA-EB540A9BB26D}" destId="{95BDC7F7-C4DD-40F6-9F85-724452768EDB}" srcOrd="2" destOrd="0" parTransId="{D34A090C-E596-46D1-BE18-982BFB91F801}" sibTransId="{CDE3DCEA-6600-4306-A854-81E7A8A2D9A4}"/>
    <dgm:cxn modelId="{E6C6E0AC-C9E4-4A86-9B6B-5DC0E1BA41BC}" type="presOf" srcId="{D34A090C-E596-46D1-BE18-982BFB91F801}" destId="{309720F9-50A8-474E-A503-F67B63C05B31}" srcOrd="0" destOrd="0" presId="urn:microsoft.com/office/officeart/2005/8/layout/hierarchy1"/>
    <dgm:cxn modelId="{E3C0689E-5608-4CC4-98FC-E5D779C800CF}" type="presOf" srcId="{447CCEBF-39C0-40CF-9B13-578848D85D50}" destId="{48EBDFD1-43CB-49BF-A8AA-7C7878BB70B3}" srcOrd="0" destOrd="0" presId="urn:microsoft.com/office/officeart/2005/8/layout/hierarchy1"/>
    <dgm:cxn modelId="{8F0C9C5A-A1F5-4208-99CF-E3FF9BF04D1A}" type="presOf" srcId="{1852D16F-29BB-4F6F-B4FA-EB540A9BB26D}" destId="{550CCE41-0F5E-40BD-9DFC-C8EE89062E0A}" srcOrd="0" destOrd="0" presId="urn:microsoft.com/office/officeart/2005/8/layout/hierarchy1"/>
    <dgm:cxn modelId="{BB1C6379-96C3-496A-AAD2-60198C8029AD}" type="presOf" srcId="{0E73B448-82C2-4DC3-BFF7-A5A81DC3711E}" destId="{B570ADA0-9A89-4CEC-897D-963EE13773C2}" srcOrd="0" destOrd="0" presId="urn:microsoft.com/office/officeart/2005/8/layout/hierarchy1"/>
    <dgm:cxn modelId="{41582AC5-92B4-4C46-A946-5DA0F0B57EF4}" type="presOf" srcId="{5AF0A11F-5082-4A09-BAB4-A44818A4BA9F}" destId="{5ADD6CCB-44FC-4C43-B3C9-0D62F6113FAB}" srcOrd="0" destOrd="0" presId="urn:microsoft.com/office/officeart/2005/8/layout/hierarchy1"/>
    <dgm:cxn modelId="{C39D0421-6CAC-480E-8703-061BC727A405}" type="presOf" srcId="{68F3A524-6FF0-4F4B-BE49-ACE3B60DDD0F}" destId="{10062B03-86C8-49B7-A59B-E1925D4257B6}" srcOrd="0" destOrd="0" presId="urn:microsoft.com/office/officeart/2005/8/layout/hierarchy1"/>
    <dgm:cxn modelId="{4FF1F956-F0D0-4173-91AD-D62E2B2F6207}" type="presOf" srcId="{E1164C01-52FA-411A-B320-0D23FD1F985B}" destId="{B4FA3C8E-0DB2-4BEB-A5F3-9E70CF542ACD}" srcOrd="0" destOrd="0" presId="urn:microsoft.com/office/officeart/2005/8/layout/hierarchy1"/>
    <dgm:cxn modelId="{A74293E8-73F4-4269-B5D8-79983440E186}" srcId="{6B9CFE00-18C9-4BDD-8D31-156F8027FDA8}" destId="{09569BE7-248B-4E77-9E74-AB9A1A6E86F4}" srcOrd="1" destOrd="0" parTransId="{5AF0A11F-5082-4A09-BAB4-A44818A4BA9F}" sibTransId="{21DEFA74-1DFC-4EFC-99A9-8DC44618FB29}"/>
    <dgm:cxn modelId="{F509C55F-882A-4F43-AEA1-370328731FC8}" srcId="{1852D16F-29BB-4F6F-B4FA-EB540A9BB26D}" destId="{74D090FA-EF9A-45C6-8BB3-F7121B35D162}" srcOrd="0" destOrd="0" parTransId="{3BBCF260-C20B-4BF5-89F3-E5551B3C1430}" sibTransId="{A89765C9-9C71-4757-8B08-B85BEF6A76CD}"/>
    <dgm:cxn modelId="{A7F95D39-D276-42B7-BD06-512D538EAAB9}" type="presOf" srcId="{09569BE7-248B-4E77-9E74-AB9A1A6E86F4}" destId="{86A078AD-9487-4289-A914-6033C949CB35}" srcOrd="0" destOrd="0" presId="urn:microsoft.com/office/officeart/2005/8/layout/hierarchy1"/>
    <dgm:cxn modelId="{7C7B2F4B-317B-4C2C-ACE9-8E3C90C24018}" srcId="{E1164C01-52FA-411A-B320-0D23FD1F985B}" destId="{35933C56-D1A4-469F-B4C1-E2528B727243}" srcOrd="0" destOrd="0" parTransId="{7CAD4074-4BD6-47C5-8C2E-4CAAEBD44A96}" sibTransId="{71BE69B7-36FA-426A-8FDC-CD3CBCFF1E07}"/>
    <dgm:cxn modelId="{7809029F-DCA2-4386-85EF-48EBF2E65B7D}" type="presOf" srcId="{E85F89AA-EC58-4496-A898-14C9D76A7A57}" destId="{6EB139C6-20A5-4F9F-855A-5C8D54D64A30}" srcOrd="0" destOrd="0" presId="urn:microsoft.com/office/officeart/2005/8/layout/hierarchy1"/>
    <dgm:cxn modelId="{0514E996-AEAF-4B0B-B268-920D491D6238}" srcId="{6B9CFE00-18C9-4BDD-8D31-156F8027FDA8}" destId="{E85F89AA-EC58-4496-A898-14C9D76A7A57}" srcOrd="0" destOrd="0" parTransId="{0E73B448-82C2-4DC3-BFF7-A5A81DC3711E}" sibTransId="{CB2A7081-556E-446B-B435-F4642EF2BAB8}"/>
    <dgm:cxn modelId="{DA963CAF-2413-4DFB-A21C-5A6492D22295}" srcId="{1852D16F-29BB-4F6F-B4FA-EB540A9BB26D}" destId="{447CCEBF-39C0-40CF-9B13-578848D85D50}" srcOrd="1" destOrd="0" parTransId="{68F3A524-6FF0-4F4B-BE49-ACE3B60DDD0F}" sibTransId="{D4A01E98-3AD2-49BF-BE8C-04B40BFD13CE}"/>
    <dgm:cxn modelId="{3DA2B7F5-3386-4F7E-AE4A-2DE3F844CB4D}" srcId="{35933C56-D1A4-469F-B4C1-E2528B727243}" destId="{1852D16F-29BB-4F6F-B4FA-EB540A9BB26D}" srcOrd="0" destOrd="0" parTransId="{716751FC-8445-45E2-8ED2-B91FCBF14BF9}" sibTransId="{663A6B1E-A154-48F3-A85E-A847DCC9E9A1}"/>
    <dgm:cxn modelId="{8B8EDCC5-D1ED-4AFE-A722-793C47073ADA}" type="presOf" srcId="{6B9CFE00-18C9-4BDD-8D31-156F8027FDA8}" destId="{608E30BE-B602-489C-B919-BC0F749E9F79}" srcOrd="0" destOrd="0" presId="urn:microsoft.com/office/officeart/2005/8/layout/hierarchy1"/>
    <dgm:cxn modelId="{B34CA2AC-84D1-407F-B32E-2251C6EA4B50}" srcId="{35933C56-D1A4-469F-B4C1-E2528B727243}" destId="{6B9CFE00-18C9-4BDD-8D31-156F8027FDA8}" srcOrd="1" destOrd="0" parTransId="{EC6D5BF0-7C1E-4355-A13F-9ED93F7F69D5}" sibTransId="{4183A8BD-19DE-4D4B-AD8B-0DB7C47E338B}"/>
    <dgm:cxn modelId="{4B3B48F6-AA3F-4329-BA6C-FE29A271C854}" type="presOf" srcId="{95BDC7F7-C4DD-40F6-9F85-724452768EDB}" destId="{7108C5BD-DC11-41A7-83C0-D476B8D54FD0}" srcOrd="0" destOrd="0" presId="urn:microsoft.com/office/officeart/2005/8/layout/hierarchy1"/>
    <dgm:cxn modelId="{F95B89F5-F892-4151-8D83-493D1BE30726}" type="presOf" srcId="{3BBCF260-C20B-4BF5-89F3-E5551B3C1430}" destId="{1518C37A-90B7-43F7-A04C-E5D68555C633}" srcOrd="0" destOrd="0" presId="urn:microsoft.com/office/officeart/2005/8/layout/hierarchy1"/>
    <dgm:cxn modelId="{60C27B37-219F-4A25-BAF2-0755DA7CD84B}" type="presOf" srcId="{74D090FA-EF9A-45C6-8BB3-F7121B35D162}" destId="{FCE811CA-639A-4634-9902-5BB5F02CA825}" srcOrd="0" destOrd="0" presId="urn:microsoft.com/office/officeart/2005/8/layout/hierarchy1"/>
    <dgm:cxn modelId="{A4C45275-7909-439A-B06C-BED518F05C71}" type="presOf" srcId="{716751FC-8445-45E2-8ED2-B91FCBF14BF9}" destId="{1957FB12-77F3-4DE7-A849-E0406DCB7123}" srcOrd="0" destOrd="0" presId="urn:microsoft.com/office/officeart/2005/8/layout/hierarchy1"/>
    <dgm:cxn modelId="{08091D10-E414-49FC-92E2-3DF6EA281226}" type="presOf" srcId="{35933C56-D1A4-469F-B4C1-E2528B727243}" destId="{3C9406DF-E6D1-4C9A-96A6-BA3668106101}" srcOrd="0" destOrd="0" presId="urn:microsoft.com/office/officeart/2005/8/layout/hierarchy1"/>
    <dgm:cxn modelId="{2A7AB3E0-6DD4-4775-9C39-7C70BB1FF0E9}" type="presOf" srcId="{EC6D5BF0-7C1E-4355-A13F-9ED93F7F69D5}" destId="{24722139-6B3B-42DF-88E8-2AF57380205C}" srcOrd="0" destOrd="0" presId="urn:microsoft.com/office/officeart/2005/8/layout/hierarchy1"/>
    <dgm:cxn modelId="{1B792A73-26F3-45FD-9D7B-026BDCDF1948}" type="presParOf" srcId="{B4FA3C8E-0DB2-4BEB-A5F3-9E70CF542ACD}" destId="{1E67B887-DB80-45A9-AE5B-37872990432A}" srcOrd="0" destOrd="0" presId="urn:microsoft.com/office/officeart/2005/8/layout/hierarchy1"/>
    <dgm:cxn modelId="{7BC1F0F0-09C2-474C-988F-87FA2D782136}" type="presParOf" srcId="{1E67B887-DB80-45A9-AE5B-37872990432A}" destId="{D009D1B7-658C-45A7-BD93-87161D0337B8}" srcOrd="0" destOrd="0" presId="urn:microsoft.com/office/officeart/2005/8/layout/hierarchy1"/>
    <dgm:cxn modelId="{C8190B4B-F28F-4409-9EF2-32FA70692136}" type="presParOf" srcId="{D009D1B7-658C-45A7-BD93-87161D0337B8}" destId="{5BCCD3AA-B97A-4B06-AA75-47333A203867}" srcOrd="0" destOrd="0" presId="urn:microsoft.com/office/officeart/2005/8/layout/hierarchy1"/>
    <dgm:cxn modelId="{7F1D4AAB-BF1C-4AFB-88F9-E89ECBBD2D04}" type="presParOf" srcId="{D009D1B7-658C-45A7-BD93-87161D0337B8}" destId="{3C9406DF-E6D1-4C9A-96A6-BA3668106101}" srcOrd="1" destOrd="0" presId="urn:microsoft.com/office/officeart/2005/8/layout/hierarchy1"/>
    <dgm:cxn modelId="{29CC8D7B-9CBE-4805-9EE9-FE47A92B9A5A}" type="presParOf" srcId="{1E67B887-DB80-45A9-AE5B-37872990432A}" destId="{627A8B5C-D780-47B4-9677-C9070192C0D0}" srcOrd="1" destOrd="0" presId="urn:microsoft.com/office/officeart/2005/8/layout/hierarchy1"/>
    <dgm:cxn modelId="{30825159-3594-458F-B61B-90DA1881B3E0}" type="presParOf" srcId="{627A8B5C-D780-47B4-9677-C9070192C0D0}" destId="{1957FB12-77F3-4DE7-A849-E0406DCB7123}" srcOrd="0" destOrd="0" presId="urn:microsoft.com/office/officeart/2005/8/layout/hierarchy1"/>
    <dgm:cxn modelId="{8C29C522-BB35-4813-9D8C-A1E0D3C01365}" type="presParOf" srcId="{627A8B5C-D780-47B4-9677-C9070192C0D0}" destId="{A61D58AF-F3C2-4CE2-9C9D-C68D7D47A042}" srcOrd="1" destOrd="0" presId="urn:microsoft.com/office/officeart/2005/8/layout/hierarchy1"/>
    <dgm:cxn modelId="{1EAD8B12-04AB-4904-A4FE-98F61FDFE87A}" type="presParOf" srcId="{A61D58AF-F3C2-4CE2-9C9D-C68D7D47A042}" destId="{AC36C19B-B5D6-4001-9E28-720018659046}" srcOrd="0" destOrd="0" presId="urn:microsoft.com/office/officeart/2005/8/layout/hierarchy1"/>
    <dgm:cxn modelId="{0DF043E7-CD16-4E2F-9055-95D038217947}" type="presParOf" srcId="{AC36C19B-B5D6-4001-9E28-720018659046}" destId="{9A31AD0B-F786-4698-95BF-CA159A017414}" srcOrd="0" destOrd="0" presId="urn:microsoft.com/office/officeart/2005/8/layout/hierarchy1"/>
    <dgm:cxn modelId="{956C4679-B239-486C-8C2D-C568F53F2469}" type="presParOf" srcId="{AC36C19B-B5D6-4001-9E28-720018659046}" destId="{550CCE41-0F5E-40BD-9DFC-C8EE89062E0A}" srcOrd="1" destOrd="0" presId="urn:microsoft.com/office/officeart/2005/8/layout/hierarchy1"/>
    <dgm:cxn modelId="{2A649447-9A24-4132-BC79-08CBFF431D1E}" type="presParOf" srcId="{A61D58AF-F3C2-4CE2-9C9D-C68D7D47A042}" destId="{7315D040-134F-4E5F-B6C6-4DF17760C7CA}" srcOrd="1" destOrd="0" presId="urn:microsoft.com/office/officeart/2005/8/layout/hierarchy1"/>
    <dgm:cxn modelId="{99A7B45D-1055-4918-9EC9-935118007FE5}" type="presParOf" srcId="{7315D040-134F-4E5F-B6C6-4DF17760C7CA}" destId="{1518C37A-90B7-43F7-A04C-E5D68555C633}" srcOrd="0" destOrd="0" presId="urn:microsoft.com/office/officeart/2005/8/layout/hierarchy1"/>
    <dgm:cxn modelId="{60E9563B-BBE6-44B2-9A52-183D45BD877F}" type="presParOf" srcId="{7315D040-134F-4E5F-B6C6-4DF17760C7CA}" destId="{9173A2F3-E1CB-41A6-BF23-9F54F9E12CFB}" srcOrd="1" destOrd="0" presId="urn:microsoft.com/office/officeart/2005/8/layout/hierarchy1"/>
    <dgm:cxn modelId="{4BF6CE33-8A0E-4032-A279-A5872710E67F}" type="presParOf" srcId="{9173A2F3-E1CB-41A6-BF23-9F54F9E12CFB}" destId="{E1840A76-0AD2-48FD-91AA-E2DAC27A45D3}" srcOrd="0" destOrd="0" presId="urn:microsoft.com/office/officeart/2005/8/layout/hierarchy1"/>
    <dgm:cxn modelId="{7F26DFEB-A472-4ACE-9503-E088796AE820}" type="presParOf" srcId="{E1840A76-0AD2-48FD-91AA-E2DAC27A45D3}" destId="{0D135BE1-4F29-457A-BB06-F488ED6E0479}" srcOrd="0" destOrd="0" presId="urn:microsoft.com/office/officeart/2005/8/layout/hierarchy1"/>
    <dgm:cxn modelId="{084449DA-06A1-4A26-B2DA-EAC199A4127E}" type="presParOf" srcId="{E1840A76-0AD2-48FD-91AA-E2DAC27A45D3}" destId="{FCE811CA-639A-4634-9902-5BB5F02CA825}" srcOrd="1" destOrd="0" presId="urn:microsoft.com/office/officeart/2005/8/layout/hierarchy1"/>
    <dgm:cxn modelId="{18BFB774-EA5E-4B3B-B3A7-D639D6FE58C6}" type="presParOf" srcId="{9173A2F3-E1CB-41A6-BF23-9F54F9E12CFB}" destId="{2169A359-BBE1-4415-B4E6-B6C665508602}" srcOrd="1" destOrd="0" presId="urn:microsoft.com/office/officeart/2005/8/layout/hierarchy1"/>
    <dgm:cxn modelId="{C624A823-43AC-442E-9CA5-44B46784FA8D}" type="presParOf" srcId="{7315D040-134F-4E5F-B6C6-4DF17760C7CA}" destId="{10062B03-86C8-49B7-A59B-E1925D4257B6}" srcOrd="2" destOrd="0" presId="urn:microsoft.com/office/officeart/2005/8/layout/hierarchy1"/>
    <dgm:cxn modelId="{E17A13C7-7CD9-4D06-88A2-46F29EC1022F}" type="presParOf" srcId="{7315D040-134F-4E5F-B6C6-4DF17760C7CA}" destId="{1AA2115F-3683-4BA1-893D-CE4F96307A75}" srcOrd="3" destOrd="0" presId="urn:microsoft.com/office/officeart/2005/8/layout/hierarchy1"/>
    <dgm:cxn modelId="{EDD8CB31-EB05-4BB0-AB13-97A6DA9677C1}" type="presParOf" srcId="{1AA2115F-3683-4BA1-893D-CE4F96307A75}" destId="{CF824D61-9B61-4566-B3B4-70B4CC3FBEF5}" srcOrd="0" destOrd="0" presId="urn:microsoft.com/office/officeart/2005/8/layout/hierarchy1"/>
    <dgm:cxn modelId="{4FFA68FD-43FF-44F7-9999-D75FB0BA6909}" type="presParOf" srcId="{CF824D61-9B61-4566-B3B4-70B4CC3FBEF5}" destId="{6536ACE3-708A-43AC-B6EB-BDB48999ABD4}" srcOrd="0" destOrd="0" presId="urn:microsoft.com/office/officeart/2005/8/layout/hierarchy1"/>
    <dgm:cxn modelId="{24B09B3B-A739-414E-8C18-61764F1A8148}" type="presParOf" srcId="{CF824D61-9B61-4566-B3B4-70B4CC3FBEF5}" destId="{48EBDFD1-43CB-49BF-A8AA-7C7878BB70B3}" srcOrd="1" destOrd="0" presId="urn:microsoft.com/office/officeart/2005/8/layout/hierarchy1"/>
    <dgm:cxn modelId="{9732B7CC-E953-40BC-A733-AEEF1C0A990B}" type="presParOf" srcId="{1AA2115F-3683-4BA1-893D-CE4F96307A75}" destId="{13060137-3926-48B7-957B-0E2D3894C732}" srcOrd="1" destOrd="0" presId="urn:microsoft.com/office/officeart/2005/8/layout/hierarchy1"/>
    <dgm:cxn modelId="{8B3AB4E8-F895-42BD-87AF-0024E85AB6F9}" type="presParOf" srcId="{7315D040-134F-4E5F-B6C6-4DF17760C7CA}" destId="{309720F9-50A8-474E-A503-F67B63C05B31}" srcOrd="4" destOrd="0" presId="urn:microsoft.com/office/officeart/2005/8/layout/hierarchy1"/>
    <dgm:cxn modelId="{33A6FF7E-4707-4403-9D4C-51B8B0D84689}" type="presParOf" srcId="{7315D040-134F-4E5F-B6C6-4DF17760C7CA}" destId="{1D211765-8081-4C3C-9838-632AC57D05C5}" srcOrd="5" destOrd="0" presId="urn:microsoft.com/office/officeart/2005/8/layout/hierarchy1"/>
    <dgm:cxn modelId="{841A749A-C47A-40FA-BA71-B4D7AFAC8688}" type="presParOf" srcId="{1D211765-8081-4C3C-9838-632AC57D05C5}" destId="{D2290D27-CDC5-4228-B079-4CCF350CC793}" srcOrd="0" destOrd="0" presId="urn:microsoft.com/office/officeart/2005/8/layout/hierarchy1"/>
    <dgm:cxn modelId="{CBA921D8-1F50-4383-BF95-018FB757B8AE}" type="presParOf" srcId="{D2290D27-CDC5-4228-B079-4CCF350CC793}" destId="{7CFAEF64-E15C-405C-828F-B813E75D8AB7}" srcOrd="0" destOrd="0" presId="urn:microsoft.com/office/officeart/2005/8/layout/hierarchy1"/>
    <dgm:cxn modelId="{A1D08FB5-D498-451F-969A-63D70EDA3694}" type="presParOf" srcId="{D2290D27-CDC5-4228-B079-4CCF350CC793}" destId="{7108C5BD-DC11-41A7-83C0-D476B8D54FD0}" srcOrd="1" destOrd="0" presId="urn:microsoft.com/office/officeart/2005/8/layout/hierarchy1"/>
    <dgm:cxn modelId="{3F849166-1663-4007-AB31-1706EFBD26AF}" type="presParOf" srcId="{1D211765-8081-4C3C-9838-632AC57D05C5}" destId="{7A9435C8-DD31-413E-A4B7-B19DB6342569}" srcOrd="1" destOrd="0" presId="urn:microsoft.com/office/officeart/2005/8/layout/hierarchy1"/>
    <dgm:cxn modelId="{DF699DAF-A7B7-4102-9280-92A67BEC9B66}" type="presParOf" srcId="{627A8B5C-D780-47B4-9677-C9070192C0D0}" destId="{24722139-6B3B-42DF-88E8-2AF57380205C}" srcOrd="2" destOrd="0" presId="urn:microsoft.com/office/officeart/2005/8/layout/hierarchy1"/>
    <dgm:cxn modelId="{BD956C33-BE96-43C8-AEAD-74496A41DEE1}" type="presParOf" srcId="{627A8B5C-D780-47B4-9677-C9070192C0D0}" destId="{59F206A3-2A67-4FA4-B223-3331D9A76663}" srcOrd="3" destOrd="0" presId="urn:microsoft.com/office/officeart/2005/8/layout/hierarchy1"/>
    <dgm:cxn modelId="{BCE349FD-0D9D-4AB7-B594-2979DE1C44D7}" type="presParOf" srcId="{59F206A3-2A67-4FA4-B223-3331D9A76663}" destId="{96C32942-2755-42D2-92C0-D17F622DCF6B}" srcOrd="0" destOrd="0" presId="urn:microsoft.com/office/officeart/2005/8/layout/hierarchy1"/>
    <dgm:cxn modelId="{138AAF3F-DBB2-4B24-9EDE-8A952B128AF7}" type="presParOf" srcId="{96C32942-2755-42D2-92C0-D17F622DCF6B}" destId="{04EDD9FE-0295-40A3-A4BD-555EBCA45260}" srcOrd="0" destOrd="0" presId="urn:microsoft.com/office/officeart/2005/8/layout/hierarchy1"/>
    <dgm:cxn modelId="{111BCE9D-F4AF-4D96-9625-4E0DEA1E87FB}" type="presParOf" srcId="{96C32942-2755-42D2-92C0-D17F622DCF6B}" destId="{608E30BE-B602-489C-B919-BC0F749E9F79}" srcOrd="1" destOrd="0" presId="urn:microsoft.com/office/officeart/2005/8/layout/hierarchy1"/>
    <dgm:cxn modelId="{A76CF58C-35F4-411C-BCD9-90D7B23908EB}" type="presParOf" srcId="{59F206A3-2A67-4FA4-B223-3331D9A76663}" destId="{9960143D-DC49-4145-B340-3C8E447D22DB}" srcOrd="1" destOrd="0" presId="urn:microsoft.com/office/officeart/2005/8/layout/hierarchy1"/>
    <dgm:cxn modelId="{A85D209F-5031-47A2-B1A1-DD63C18290E0}" type="presParOf" srcId="{9960143D-DC49-4145-B340-3C8E447D22DB}" destId="{B570ADA0-9A89-4CEC-897D-963EE13773C2}" srcOrd="0" destOrd="0" presId="urn:microsoft.com/office/officeart/2005/8/layout/hierarchy1"/>
    <dgm:cxn modelId="{D77BB6BB-A639-4421-AA20-D95CC393BB4F}" type="presParOf" srcId="{9960143D-DC49-4145-B340-3C8E447D22DB}" destId="{BD2F0930-B56D-40FA-862D-9118C5A4B11F}" srcOrd="1" destOrd="0" presId="urn:microsoft.com/office/officeart/2005/8/layout/hierarchy1"/>
    <dgm:cxn modelId="{916D02CA-C6E4-426F-97FB-EA4A66C9FF6F}" type="presParOf" srcId="{BD2F0930-B56D-40FA-862D-9118C5A4B11F}" destId="{D3FDD267-1496-4DD1-9496-E8D6445FA495}" srcOrd="0" destOrd="0" presId="urn:microsoft.com/office/officeart/2005/8/layout/hierarchy1"/>
    <dgm:cxn modelId="{57E14D91-578D-4A86-A03A-230C4D4D2781}" type="presParOf" srcId="{D3FDD267-1496-4DD1-9496-E8D6445FA495}" destId="{DB48C750-EE16-4BE9-9513-3A3A87638071}" srcOrd="0" destOrd="0" presId="urn:microsoft.com/office/officeart/2005/8/layout/hierarchy1"/>
    <dgm:cxn modelId="{E675412A-31CE-4B75-88B8-FB5F3E743CF3}" type="presParOf" srcId="{D3FDD267-1496-4DD1-9496-E8D6445FA495}" destId="{6EB139C6-20A5-4F9F-855A-5C8D54D64A30}" srcOrd="1" destOrd="0" presId="urn:microsoft.com/office/officeart/2005/8/layout/hierarchy1"/>
    <dgm:cxn modelId="{438778D3-566C-4169-AD5C-72F4F176EBD3}" type="presParOf" srcId="{BD2F0930-B56D-40FA-862D-9118C5A4B11F}" destId="{30895537-8666-43CE-BEEA-F1F2773BF5F8}" srcOrd="1" destOrd="0" presId="urn:microsoft.com/office/officeart/2005/8/layout/hierarchy1"/>
    <dgm:cxn modelId="{E418EE15-0175-46D7-856A-3A1514ECD839}" type="presParOf" srcId="{9960143D-DC49-4145-B340-3C8E447D22DB}" destId="{5ADD6CCB-44FC-4C43-B3C9-0D62F6113FAB}" srcOrd="2" destOrd="0" presId="urn:microsoft.com/office/officeart/2005/8/layout/hierarchy1"/>
    <dgm:cxn modelId="{E76B3E2D-ED01-4C15-ABD9-FC0EE1E90295}" type="presParOf" srcId="{9960143D-DC49-4145-B340-3C8E447D22DB}" destId="{F043528C-A25B-48F9-87AF-01F7D4DECCA9}" srcOrd="3" destOrd="0" presId="urn:microsoft.com/office/officeart/2005/8/layout/hierarchy1"/>
    <dgm:cxn modelId="{0DC83D79-BFEC-4479-8CCD-78BF3E967913}" type="presParOf" srcId="{F043528C-A25B-48F9-87AF-01F7D4DECCA9}" destId="{FD219699-58E2-4CF6-8F38-341F2B2830AB}" srcOrd="0" destOrd="0" presId="urn:microsoft.com/office/officeart/2005/8/layout/hierarchy1"/>
    <dgm:cxn modelId="{215BD585-0587-4FC6-BF12-E79DCBE7DF69}" type="presParOf" srcId="{FD219699-58E2-4CF6-8F38-341F2B2830AB}" destId="{FB987761-B838-401D-947D-AC1D71A70CBD}" srcOrd="0" destOrd="0" presId="urn:microsoft.com/office/officeart/2005/8/layout/hierarchy1"/>
    <dgm:cxn modelId="{D9634ECB-9AF6-41A3-BED6-F60C5CADDBA9}" type="presParOf" srcId="{FD219699-58E2-4CF6-8F38-341F2B2830AB}" destId="{86A078AD-9487-4289-A914-6033C949CB35}" srcOrd="1" destOrd="0" presId="urn:microsoft.com/office/officeart/2005/8/layout/hierarchy1"/>
    <dgm:cxn modelId="{9CD6F228-CD23-4371-A104-56171DF77C6E}" type="presParOf" srcId="{F043528C-A25B-48F9-87AF-01F7D4DECCA9}" destId="{6C2DB4AD-069D-49C9-9EA1-027B90A1E094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E4A04471-1333-4891-B83F-810A73D424C5}" type="doc">
      <dgm:prSet loTypeId="urn:microsoft.com/office/officeart/2005/8/layout/list1" loCatId="list" qsTypeId="urn:microsoft.com/office/officeart/2005/8/quickstyle/3d3" qsCatId="3D" csTypeId="urn:microsoft.com/office/officeart/2005/8/colors/colorful2" csCatId="colorful" phldr="1"/>
      <dgm:spPr/>
      <dgm:t>
        <a:bodyPr/>
        <a:lstStyle/>
        <a:p>
          <a:endParaRPr lang="zh-CN" altLang="en-US"/>
        </a:p>
      </dgm:t>
    </dgm:pt>
    <dgm:pt modelId="{1F65EA5F-5DF3-4897-86FE-CCCCBFBDD89C}">
      <dgm:prSet phldrT="[文本]"/>
      <dgm:spPr/>
      <dgm:t>
        <a:bodyPr/>
        <a:lstStyle/>
        <a:p>
          <a:r>
            <a:rPr lang="zh-CN" altLang="en-US" dirty="0" smtClean="0"/>
            <a:t>优点</a:t>
          </a:r>
          <a:endParaRPr lang="zh-CN" altLang="en-US" dirty="0"/>
        </a:p>
      </dgm:t>
    </dgm:pt>
    <dgm:pt modelId="{2C4150B7-4CCA-4B06-91D1-1934F07AC9B2}" type="parTrans" cxnId="{5C6CE8CA-0442-46E9-BA2F-66F85FFEAE1E}">
      <dgm:prSet/>
      <dgm:spPr/>
      <dgm:t>
        <a:bodyPr/>
        <a:lstStyle/>
        <a:p>
          <a:endParaRPr lang="zh-CN" altLang="en-US"/>
        </a:p>
      </dgm:t>
    </dgm:pt>
    <dgm:pt modelId="{C376396B-4723-4520-9AEC-7E8C46927828}" type="sibTrans" cxnId="{5C6CE8CA-0442-46E9-BA2F-66F85FFEAE1E}">
      <dgm:prSet/>
      <dgm:spPr/>
      <dgm:t>
        <a:bodyPr/>
        <a:lstStyle/>
        <a:p>
          <a:endParaRPr lang="zh-CN" altLang="en-US"/>
        </a:p>
      </dgm:t>
    </dgm:pt>
    <dgm:pt modelId="{8833C209-1C16-497A-94C9-0682043D3B11}">
      <dgm:prSet phldrT="[文本]"/>
      <dgm:spPr/>
      <dgm:t>
        <a:bodyPr/>
        <a:lstStyle/>
        <a:p>
          <a:r>
            <a:rPr lang="zh-CN" altLang="en-US" dirty="0" smtClean="0"/>
            <a:t>规则</a:t>
          </a:r>
          <a:endParaRPr lang="zh-CN" altLang="en-US" dirty="0"/>
        </a:p>
      </dgm:t>
    </dgm:pt>
    <dgm:pt modelId="{46DB264B-BA80-489A-AE49-8904BED51C4F}" type="parTrans" cxnId="{2EE3ED2E-D25B-4F5E-9E91-9DC0311EE31A}">
      <dgm:prSet/>
      <dgm:spPr/>
      <dgm:t>
        <a:bodyPr/>
        <a:lstStyle/>
        <a:p>
          <a:endParaRPr lang="zh-CN" altLang="en-US"/>
        </a:p>
      </dgm:t>
    </dgm:pt>
    <dgm:pt modelId="{72DB1802-690E-44F5-B035-2001E6F1D998}" type="sibTrans" cxnId="{2EE3ED2E-D25B-4F5E-9E91-9DC0311EE31A}">
      <dgm:prSet/>
      <dgm:spPr/>
      <dgm:t>
        <a:bodyPr/>
        <a:lstStyle/>
        <a:p>
          <a:endParaRPr lang="zh-CN" altLang="en-US"/>
        </a:p>
      </dgm:t>
    </dgm:pt>
    <dgm:pt modelId="{6663DD80-1CB3-42AE-AF4B-E50675EC7773}">
      <dgm:prSet phldrT="[文本]"/>
      <dgm:spPr/>
      <dgm:t>
        <a:bodyPr/>
        <a:lstStyle/>
        <a:p>
          <a:r>
            <a:rPr lang="zh-CN" altLang="en-US" dirty="0" smtClean="0"/>
            <a:t>模块独立，基于</a:t>
          </a:r>
          <a:r>
            <a:rPr lang="en-US" altLang="zh-CN" dirty="0" err="1" smtClean="0"/>
            <a:t>Mvc</a:t>
          </a:r>
          <a:r>
            <a:rPr lang="zh-CN" altLang="en-US" dirty="0" smtClean="0"/>
            <a:t>标准</a:t>
          </a:r>
          <a:endParaRPr lang="zh-CN" altLang="en-US" dirty="0"/>
        </a:p>
      </dgm:t>
    </dgm:pt>
    <dgm:pt modelId="{89C3F06D-F567-40AF-AE91-49E167324DA4}" type="parTrans" cxnId="{F17112E5-0FC6-48C0-9532-9DE883D49BF8}">
      <dgm:prSet/>
      <dgm:spPr/>
      <dgm:t>
        <a:bodyPr/>
        <a:lstStyle/>
        <a:p>
          <a:endParaRPr lang="zh-CN" altLang="en-US"/>
        </a:p>
      </dgm:t>
    </dgm:pt>
    <dgm:pt modelId="{9B4B9383-5318-4E78-A3E4-191440C0A736}" type="sibTrans" cxnId="{F17112E5-0FC6-48C0-9532-9DE883D49BF8}">
      <dgm:prSet/>
      <dgm:spPr/>
      <dgm:t>
        <a:bodyPr/>
        <a:lstStyle/>
        <a:p>
          <a:endParaRPr lang="zh-CN" altLang="en-US"/>
        </a:p>
      </dgm:t>
    </dgm:pt>
    <dgm:pt modelId="{B377A948-BF1C-4EFF-B96A-4B16BF2858EA}">
      <dgm:prSet phldrT="[文本]"/>
      <dgm:spPr/>
      <dgm:t>
        <a:bodyPr/>
        <a:lstStyle/>
        <a:p>
          <a:r>
            <a:rPr lang="zh-CN" altLang="en-US" dirty="0" smtClean="0"/>
            <a:t>页面权限基于</a:t>
          </a:r>
          <a:r>
            <a:rPr lang="en-US" altLang="zh-CN" dirty="0" err="1" smtClean="0"/>
            <a:t>Mvc</a:t>
          </a:r>
          <a:r>
            <a:rPr lang="zh-CN" altLang="en-US" dirty="0" smtClean="0"/>
            <a:t>的</a:t>
          </a:r>
          <a:r>
            <a:rPr lang="en-US" altLang="zh-CN" dirty="0" smtClean="0"/>
            <a:t>URL</a:t>
          </a:r>
          <a:endParaRPr lang="zh-CN" altLang="en-US" dirty="0"/>
        </a:p>
      </dgm:t>
    </dgm:pt>
    <dgm:pt modelId="{F4766319-E886-4646-AD75-489196EAAF7E}" type="parTrans" cxnId="{A94E7B54-FCC7-4424-BCBF-582325C07CCE}">
      <dgm:prSet/>
      <dgm:spPr/>
      <dgm:t>
        <a:bodyPr/>
        <a:lstStyle/>
        <a:p>
          <a:endParaRPr lang="zh-CN" altLang="en-US"/>
        </a:p>
      </dgm:t>
    </dgm:pt>
    <dgm:pt modelId="{D8B2DAB8-2806-4932-9CB2-9EF3EDEB8A86}" type="sibTrans" cxnId="{A94E7B54-FCC7-4424-BCBF-582325C07CCE}">
      <dgm:prSet/>
      <dgm:spPr/>
      <dgm:t>
        <a:bodyPr/>
        <a:lstStyle/>
        <a:p>
          <a:endParaRPr lang="zh-CN" altLang="en-US"/>
        </a:p>
      </dgm:t>
    </dgm:pt>
    <dgm:pt modelId="{3C35C1B5-4A50-431E-9EEE-D88D86EB75B9}">
      <dgm:prSet phldrT="[文本]"/>
      <dgm:spPr/>
      <dgm:t>
        <a:bodyPr/>
        <a:lstStyle/>
        <a:p>
          <a:r>
            <a:rPr lang="zh-CN" altLang="en-US" dirty="0" smtClean="0"/>
            <a:t>按扭权限基于</a:t>
          </a:r>
          <a:r>
            <a:rPr lang="en-US" altLang="zh-CN" dirty="0" err="1" smtClean="0"/>
            <a:t>jQuery</a:t>
          </a:r>
          <a:r>
            <a:rPr lang="zh-CN" altLang="en-US" dirty="0" smtClean="0"/>
            <a:t>选择器</a:t>
          </a:r>
          <a:endParaRPr lang="zh-CN" altLang="en-US" dirty="0"/>
        </a:p>
      </dgm:t>
    </dgm:pt>
    <dgm:pt modelId="{531215A8-FC44-4080-ABD0-152D6C59405E}" type="parTrans" cxnId="{CB63A514-C897-4BCF-BB91-1EA2913113C4}">
      <dgm:prSet/>
      <dgm:spPr/>
      <dgm:t>
        <a:bodyPr/>
        <a:lstStyle/>
        <a:p>
          <a:endParaRPr lang="zh-CN" altLang="en-US"/>
        </a:p>
      </dgm:t>
    </dgm:pt>
    <dgm:pt modelId="{9ED23011-188E-42B3-BD03-A8C49000D10A}" type="sibTrans" cxnId="{CB63A514-C897-4BCF-BB91-1EA2913113C4}">
      <dgm:prSet/>
      <dgm:spPr/>
      <dgm:t>
        <a:bodyPr/>
        <a:lstStyle/>
        <a:p>
          <a:endParaRPr lang="zh-CN" altLang="en-US"/>
        </a:p>
      </dgm:t>
    </dgm:pt>
    <dgm:pt modelId="{219EA342-23B5-4A30-B375-3F6785DF512F}">
      <dgm:prSet phldrT="[文本]"/>
      <dgm:spPr/>
      <dgm:t>
        <a:bodyPr/>
        <a:lstStyle/>
        <a:p>
          <a:r>
            <a:rPr lang="zh-CN" altLang="en-US" dirty="0" smtClean="0"/>
            <a:t>行集权限基于</a:t>
          </a:r>
          <a:r>
            <a:rPr lang="en-US" altLang="zh-CN" dirty="0" err="1" smtClean="0"/>
            <a:t>Int</a:t>
          </a:r>
          <a:r>
            <a:rPr lang="zh-CN" altLang="en-US" dirty="0" smtClean="0"/>
            <a:t>型 主键</a:t>
          </a:r>
          <a:endParaRPr lang="zh-CN" altLang="en-US" dirty="0"/>
        </a:p>
      </dgm:t>
    </dgm:pt>
    <dgm:pt modelId="{6B897C24-087C-46D7-B4B2-A1EACF1D852C}" type="parTrans" cxnId="{1D2E9377-BD0D-48D6-86B7-67CFE4F915B1}">
      <dgm:prSet/>
      <dgm:spPr/>
      <dgm:t>
        <a:bodyPr/>
        <a:lstStyle/>
        <a:p>
          <a:endParaRPr lang="zh-CN" altLang="en-US"/>
        </a:p>
      </dgm:t>
    </dgm:pt>
    <dgm:pt modelId="{2A5C861A-0BF7-4DFA-84B3-D601D24BC880}" type="sibTrans" cxnId="{1D2E9377-BD0D-48D6-86B7-67CFE4F915B1}">
      <dgm:prSet/>
      <dgm:spPr/>
      <dgm:t>
        <a:bodyPr/>
        <a:lstStyle/>
        <a:p>
          <a:endParaRPr lang="zh-CN" altLang="en-US"/>
        </a:p>
      </dgm:t>
    </dgm:pt>
    <dgm:pt modelId="{87DE2DB2-E7AB-4D5F-AE0C-D2E8D1CF5645}">
      <dgm:prSet phldrT="[文本]"/>
      <dgm:spPr/>
      <dgm:t>
        <a:bodyPr/>
        <a:lstStyle/>
        <a:p>
          <a:r>
            <a:rPr lang="zh-CN" altLang="en-US" dirty="0" smtClean="0"/>
            <a:t>开发人员不参与</a:t>
          </a:r>
          <a:endParaRPr lang="zh-CN" altLang="en-US" dirty="0"/>
        </a:p>
      </dgm:t>
    </dgm:pt>
    <dgm:pt modelId="{AFE6E2FC-55BC-4822-893F-4AE02D94C7E8}" type="parTrans" cxnId="{76BF4489-CC6D-4B85-940B-84984AC10C3D}">
      <dgm:prSet/>
      <dgm:spPr/>
      <dgm:t>
        <a:bodyPr/>
        <a:lstStyle/>
        <a:p>
          <a:endParaRPr lang="zh-CN" altLang="en-US"/>
        </a:p>
      </dgm:t>
    </dgm:pt>
    <dgm:pt modelId="{012A12AE-EB45-496C-BF62-636AD3C943A0}" type="sibTrans" cxnId="{76BF4489-CC6D-4B85-940B-84984AC10C3D}">
      <dgm:prSet/>
      <dgm:spPr/>
      <dgm:t>
        <a:bodyPr/>
        <a:lstStyle/>
        <a:p>
          <a:endParaRPr lang="zh-CN" altLang="en-US"/>
        </a:p>
      </dgm:t>
    </dgm:pt>
    <dgm:pt modelId="{92150F2B-E27B-4745-B3AA-E5A7DA30C194}">
      <dgm:prSet phldrT="[文本]"/>
      <dgm:spPr/>
      <dgm:t>
        <a:bodyPr/>
        <a:lstStyle/>
        <a:p>
          <a:r>
            <a:rPr lang="zh-CN" altLang="en-US" dirty="0" smtClean="0"/>
            <a:t>设置灵活，后期定制。</a:t>
          </a:r>
          <a:endParaRPr lang="zh-CN" altLang="en-US" dirty="0"/>
        </a:p>
      </dgm:t>
    </dgm:pt>
    <dgm:pt modelId="{CE3E0534-F59B-452B-87D1-53149E1AB7EC}" type="parTrans" cxnId="{99DD1BA1-E963-425B-84FF-A47C44CCAA19}">
      <dgm:prSet/>
      <dgm:spPr/>
      <dgm:t>
        <a:bodyPr/>
        <a:lstStyle/>
        <a:p>
          <a:endParaRPr lang="zh-CN" altLang="en-US"/>
        </a:p>
      </dgm:t>
    </dgm:pt>
    <dgm:pt modelId="{64BBEA70-01A0-42B0-9854-95377397BEB6}" type="sibTrans" cxnId="{99DD1BA1-E963-425B-84FF-A47C44CCAA19}">
      <dgm:prSet/>
      <dgm:spPr/>
      <dgm:t>
        <a:bodyPr/>
        <a:lstStyle/>
        <a:p>
          <a:endParaRPr lang="zh-CN" altLang="en-US"/>
        </a:p>
      </dgm:t>
    </dgm:pt>
    <dgm:pt modelId="{BD5572F4-A864-4E24-84AB-B3140ABB9746}" type="pres">
      <dgm:prSet presAssocID="{E4A04471-1333-4891-B83F-810A73D424C5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E3A2539A-BD9C-44CF-848A-199A7262E5EA}" type="pres">
      <dgm:prSet presAssocID="{1F65EA5F-5DF3-4897-86FE-CCCCBFBDD89C}" presName="parentLin" presStyleCnt="0"/>
      <dgm:spPr/>
    </dgm:pt>
    <dgm:pt modelId="{F547942D-DDD9-4BF9-B4D1-79529B02C406}" type="pres">
      <dgm:prSet presAssocID="{1F65EA5F-5DF3-4897-86FE-CCCCBFBDD89C}" presName="parentLeftMargin" presStyleLbl="node1" presStyleIdx="0" presStyleCnt="2"/>
      <dgm:spPr/>
      <dgm:t>
        <a:bodyPr/>
        <a:lstStyle/>
        <a:p>
          <a:endParaRPr lang="zh-CN" altLang="en-US"/>
        </a:p>
      </dgm:t>
    </dgm:pt>
    <dgm:pt modelId="{120D070E-4603-4176-947D-785977953CF6}" type="pres">
      <dgm:prSet presAssocID="{1F65EA5F-5DF3-4897-86FE-CCCCBFBDD89C}" presName="parentText" presStyleLbl="node1" presStyleIdx="0" presStyleCnt="2" custScaleX="71946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FDEBC37-075E-45C2-B798-50D58FA847DF}" type="pres">
      <dgm:prSet presAssocID="{1F65EA5F-5DF3-4897-86FE-CCCCBFBDD89C}" presName="negativeSpace" presStyleCnt="0"/>
      <dgm:spPr/>
    </dgm:pt>
    <dgm:pt modelId="{3BF9914F-98B7-45DA-80C4-EE3FF874AA01}" type="pres">
      <dgm:prSet presAssocID="{1F65EA5F-5DF3-4897-86FE-CCCCBFBDD89C}" presName="childText" presStyleLbl="conFgAcc1" presStyleIdx="0" presStyleCnt="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4F4373A-EFE2-45E7-93AE-C1E830D96FFD}" type="pres">
      <dgm:prSet presAssocID="{C376396B-4723-4520-9AEC-7E8C46927828}" presName="spaceBetweenRectangles" presStyleCnt="0"/>
      <dgm:spPr/>
    </dgm:pt>
    <dgm:pt modelId="{A4A5513D-C301-4ADE-A5C3-6F0DF49B0D00}" type="pres">
      <dgm:prSet presAssocID="{8833C209-1C16-497A-94C9-0682043D3B11}" presName="parentLin" presStyleCnt="0"/>
      <dgm:spPr/>
    </dgm:pt>
    <dgm:pt modelId="{7E58BA1E-4AC3-44ED-81F3-D8B56E13767F}" type="pres">
      <dgm:prSet presAssocID="{8833C209-1C16-497A-94C9-0682043D3B11}" presName="parentLeftMargin" presStyleLbl="node1" presStyleIdx="0" presStyleCnt="2"/>
      <dgm:spPr/>
      <dgm:t>
        <a:bodyPr/>
        <a:lstStyle/>
        <a:p>
          <a:endParaRPr lang="zh-CN" altLang="en-US"/>
        </a:p>
      </dgm:t>
    </dgm:pt>
    <dgm:pt modelId="{19F60E7C-7307-40F8-9FD6-6CCA911FEF66}" type="pres">
      <dgm:prSet presAssocID="{8833C209-1C16-497A-94C9-0682043D3B11}" presName="parentText" presStyleLbl="node1" presStyleIdx="1" presStyleCnt="2" custScaleX="71747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12FB36C-4E2A-47A7-A354-E70C82B7169F}" type="pres">
      <dgm:prSet presAssocID="{8833C209-1C16-497A-94C9-0682043D3B11}" presName="negativeSpace" presStyleCnt="0"/>
      <dgm:spPr/>
    </dgm:pt>
    <dgm:pt modelId="{BE2B271B-9707-45C4-AF2E-C63B2E34221B}" type="pres">
      <dgm:prSet presAssocID="{8833C209-1C16-497A-94C9-0682043D3B11}" presName="childText" presStyleLbl="conFgAcc1" presStyleIdx="1" presStyleCnt="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CBA9BC21-D149-41C3-8FB3-3D44983D1E7B}" type="presOf" srcId="{6663DD80-1CB3-42AE-AF4B-E50675EC7773}" destId="{3BF9914F-98B7-45DA-80C4-EE3FF874AA01}" srcOrd="0" destOrd="0" presId="urn:microsoft.com/office/officeart/2005/8/layout/list1"/>
    <dgm:cxn modelId="{7568AE0F-E66E-4CF7-A2F9-53BF3F5F6E74}" type="presOf" srcId="{8833C209-1C16-497A-94C9-0682043D3B11}" destId="{19F60E7C-7307-40F8-9FD6-6CCA911FEF66}" srcOrd="1" destOrd="0" presId="urn:microsoft.com/office/officeart/2005/8/layout/list1"/>
    <dgm:cxn modelId="{C2BDE192-AF4B-4DDD-AFA9-BCFF42DD3E80}" type="presOf" srcId="{E4A04471-1333-4891-B83F-810A73D424C5}" destId="{BD5572F4-A864-4E24-84AB-B3140ABB9746}" srcOrd="0" destOrd="0" presId="urn:microsoft.com/office/officeart/2005/8/layout/list1"/>
    <dgm:cxn modelId="{D61506A2-09EC-45E8-A87E-1661CC48EDC4}" type="presOf" srcId="{1F65EA5F-5DF3-4897-86FE-CCCCBFBDD89C}" destId="{120D070E-4603-4176-947D-785977953CF6}" srcOrd="1" destOrd="0" presId="urn:microsoft.com/office/officeart/2005/8/layout/list1"/>
    <dgm:cxn modelId="{4A476515-ABF7-42AC-8637-0AB5116F390A}" type="presOf" srcId="{219EA342-23B5-4A30-B375-3F6785DF512F}" destId="{BE2B271B-9707-45C4-AF2E-C63B2E34221B}" srcOrd="0" destOrd="2" presId="urn:microsoft.com/office/officeart/2005/8/layout/list1"/>
    <dgm:cxn modelId="{99DD1BA1-E963-425B-84FF-A47C44CCAA19}" srcId="{1F65EA5F-5DF3-4897-86FE-CCCCBFBDD89C}" destId="{92150F2B-E27B-4745-B3AA-E5A7DA30C194}" srcOrd="1" destOrd="0" parTransId="{CE3E0534-F59B-452B-87D1-53149E1AB7EC}" sibTransId="{64BBEA70-01A0-42B0-9854-95377397BEB6}"/>
    <dgm:cxn modelId="{A94E7B54-FCC7-4424-BCBF-582325C07CCE}" srcId="{8833C209-1C16-497A-94C9-0682043D3B11}" destId="{B377A948-BF1C-4EFF-B96A-4B16BF2858EA}" srcOrd="0" destOrd="0" parTransId="{F4766319-E886-4646-AD75-489196EAAF7E}" sibTransId="{D8B2DAB8-2806-4932-9CB2-9EF3EDEB8A86}"/>
    <dgm:cxn modelId="{1D2E9377-BD0D-48D6-86B7-67CFE4F915B1}" srcId="{8833C209-1C16-497A-94C9-0682043D3B11}" destId="{219EA342-23B5-4A30-B375-3F6785DF512F}" srcOrd="2" destOrd="0" parTransId="{6B897C24-087C-46D7-B4B2-A1EACF1D852C}" sibTransId="{2A5C861A-0BF7-4DFA-84B3-D601D24BC880}"/>
    <dgm:cxn modelId="{1AB67731-0723-4326-B97F-E552C8576287}" type="presOf" srcId="{87DE2DB2-E7AB-4D5F-AE0C-D2E8D1CF5645}" destId="{3BF9914F-98B7-45DA-80C4-EE3FF874AA01}" srcOrd="0" destOrd="2" presId="urn:microsoft.com/office/officeart/2005/8/layout/list1"/>
    <dgm:cxn modelId="{CB63A514-C897-4BCF-BB91-1EA2913113C4}" srcId="{8833C209-1C16-497A-94C9-0682043D3B11}" destId="{3C35C1B5-4A50-431E-9EEE-D88D86EB75B9}" srcOrd="1" destOrd="0" parTransId="{531215A8-FC44-4080-ABD0-152D6C59405E}" sibTransId="{9ED23011-188E-42B3-BD03-A8C49000D10A}"/>
    <dgm:cxn modelId="{330C7DC5-5552-4DBE-8E7F-6F85D93EFA25}" type="presOf" srcId="{3C35C1B5-4A50-431E-9EEE-D88D86EB75B9}" destId="{BE2B271B-9707-45C4-AF2E-C63B2E34221B}" srcOrd="0" destOrd="1" presId="urn:microsoft.com/office/officeart/2005/8/layout/list1"/>
    <dgm:cxn modelId="{2EE3ED2E-D25B-4F5E-9E91-9DC0311EE31A}" srcId="{E4A04471-1333-4891-B83F-810A73D424C5}" destId="{8833C209-1C16-497A-94C9-0682043D3B11}" srcOrd="1" destOrd="0" parTransId="{46DB264B-BA80-489A-AE49-8904BED51C4F}" sibTransId="{72DB1802-690E-44F5-B035-2001E6F1D998}"/>
    <dgm:cxn modelId="{6D25CFD9-D2BA-411D-8ED1-AD53671C7DF0}" type="presOf" srcId="{B377A948-BF1C-4EFF-B96A-4B16BF2858EA}" destId="{BE2B271B-9707-45C4-AF2E-C63B2E34221B}" srcOrd="0" destOrd="0" presId="urn:microsoft.com/office/officeart/2005/8/layout/list1"/>
    <dgm:cxn modelId="{F17112E5-0FC6-48C0-9532-9DE883D49BF8}" srcId="{1F65EA5F-5DF3-4897-86FE-CCCCBFBDD89C}" destId="{6663DD80-1CB3-42AE-AF4B-E50675EC7773}" srcOrd="0" destOrd="0" parTransId="{89C3F06D-F567-40AF-AE91-49E167324DA4}" sibTransId="{9B4B9383-5318-4E78-A3E4-191440C0A736}"/>
    <dgm:cxn modelId="{33FD0447-2373-4A68-9AE6-8940190CD56D}" type="presOf" srcId="{8833C209-1C16-497A-94C9-0682043D3B11}" destId="{7E58BA1E-4AC3-44ED-81F3-D8B56E13767F}" srcOrd="0" destOrd="0" presId="urn:microsoft.com/office/officeart/2005/8/layout/list1"/>
    <dgm:cxn modelId="{20D72EE5-27F5-41F1-A749-090C3ED44455}" type="presOf" srcId="{1F65EA5F-5DF3-4897-86FE-CCCCBFBDD89C}" destId="{F547942D-DDD9-4BF9-B4D1-79529B02C406}" srcOrd="0" destOrd="0" presId="urn:microsoft.com/office/officeart/2005/8/layout/list1"/>
    <dgm:cxn modelId="{76BF4489-CC6D-4B85-940B-84984AC10C3D}" srcId="{1F65EA5F-5DF3-4897-86FE-CCCCBFBDD89C}" destId="{87DE2DB2-E7AB-4D5F-AE0C-D2E8D1CF5645}" srcOrd="2" destOrd="0" parTransId="{AFE6E2FC-55BC-4822-893F-4AE02D94C7E8}" sibTransId="{012A12AE-EB45-496C-BF62-636AD3C943A0}"/>
    <dgm:cxn modelId="{5C6CE8CA-0442-46E9-BA2F-66F85FFEAE1E}" srcId="{E4A04471-1333-4891-B83F-810A73D424C5}" destId="{1F65EA5F-5DF3-4897-86FE-CCCCBFBDD89C}" srcOrd="0" destOrd="0" parTransId="{2C4150B7-4CCA-4B06-91D1-1934F07AC9B2}" sibTransId="{C376396B-4723-4520-9AEC-7E8C46927828}"/>
    <dgm:cxn modelId="{9C276068-80F1-4FE4-B490-8D6EED74C2B9}" type="presOf" srcId="{92150F2B-E27B-4745-B3AA-E5A7DA30C194}" destId="{3BF9914F-98B7-45DA-80C4-EE3FF874AA01}" srcOrd="0" destOrd="1" presId="urn:microsoft.com/office/officeart/2005/8/layout/list1"/>
    <dgm:cxn modelId="{6B963908-9733-406D-942B-5C760A3BF279}" type="presParOf" srcId="{BD5572F4-A864-4E24-84AB-B3140ABB9746}" destId="{E3A2539A-BD9C-44CF-848A-199A7262E5EA}" srcOrd="0" destOrd="0" presId="urn:microsoft.com/office/officeart/2005/8/layout/list1"/>
    <dgm:cxn modelId="{DBBFD198-660D-41AD-ACC1-D4B545A8A176}" type="presParOf" srcId="{E3A2539A-BD9C-44CF-848A-199A7262E5EA}" destId="{F547942D-DDD9-4BF9-B4D1-79529B02C406}" srcOrd="0" destOrd="0" presId="urn:microsoft.com/office/officeart/2005/8/layout/list1"/>
    <dgm:cxn modelId="{8DD1EE4F-05D9-4DED-A086-CC545719E124}" type="presParOf" srcId="{E3A2539A-BD9C-44CF-848A-199A7262E5EA}" destId="{120D070E-4603-4176-947D-785977953CF6}" srcOrd="1" destOrd="0" presId="urn:microsoft.com/office/officeart/2005/8/layout/list1"/>
    <dgm:cxn modelId="{3F147230-2D61-4913-AB0C-64B909449005}" type="presParOf" srcId="{BD5572F4-A864-4E24-84AB-B3140ABB9746}" destId="{1FDEBC37-075E-45C2-B798-50D58FA847DF}" srcOrd="1" destOrd="0" presId="urn:microsoft.com/office/officeart/2005/8/layout/list1"/>
    <dgm:cxn modelId="{038DC537-D7F1-4C78-92C1-2BFE50BA48DE}" type="presParOf" srcId="{BD5572F4-A864-4E24-84AB-B3140ABB9746}" destId="{3BF9914F-98B7-45DA-80C4-EE3FF874AA01}" srcOrd="2" destOrd="0" presId="urn:microsoft.com/office/officeart/2005/8/layout/list1"/>
    <dgm:cxn modelId="{35D2E1A2-FC9D-4458-86B7-26B31CA89479}" type="presParOf" srcId="{BD5572F4-A864-4E24-84AB-B3140ABB9746}" destId="{A4F4373A-EFE2-45E7-93AE-C1E830D96FFD}" srcOrd="3" destOrd="0" presId="urn:microsoft.com/office/officeart/2005/8/layout/list1"/>
    <dgm:cxn modelId="{17412DA9-0B4F-4D76-891F-F6ACC9E639C3}" type="presParOf" srcId="{BD5572F4-A864-4E24-84AB-B3140ABB9746}" destId="{A4A5513D-C301-4ADE-A5C3-6F0DF49B0D00}" srcOrd="4" destOrd="0" presId="urn:microsoft.com/office/officeart/2005/8/layout/list1"/>
    <dgm:cxn modelId="{04E7535A-7F3C-4074-82F7-72E156497543}" type="presParOf" srcId="{A4A5513D-C301-4ADE-A5C3-6F0DF49B0D00}" destId="{7E58BA1E-4AC3-44ED-81F3-D8B56E13767F}" srcOrd="0" destOrd="0" presId="urn:microsoft.com/office/officeart/2005/8/layout/list1"/>
    <dgm:cxn modelId="{476B26F0-8DE4-4E08-90E4-26057E00ACA5}" type="presParOf" srcId="{A4A5513D-C301-4ADE-A5C3-6F0DF49B0D00}" destId="{19F60E7C-7307-40F8-9FD6-6CCA911FEF66}" srcOrd="1" destOrd="0" presId="urn:microsoft.com/office/officeart/2005/8/layout/list1"/>
    <dgm:cxn modelId="{61014C5A-1BB4-4013-934D-2063CCD13865}" type="presParOf" srcId="{BD5572F4-A864-4E24-84AB-B3140ABB9746}" destId="{F12FB36C-4E2A-47A7-A354-E70C82B7169F}" srcOrd="5" destOrd="0" presId="urn:microsoft.com/office/officeart/2005/8/layout/list1"/>
    <dgm:cxn modelId="{60945592-1850-495B-A921-D660621B66CF}" type="presParOf" srcId="{BD5572F4-A864-4E24-84AB-B3140ABB9746}" destId="{BE2B271B-9707-45C4-AF2E-C63B2E34221B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43F93BAA-7E3C-4A23-979B-C52551931D5F}" type="doc">
      <dgm:prSet loTypeId="urn:microsoft.com/office/officeart/2008/layout/VerticalCurvedList" loCatId="list" qsTypeId="urn:microsoft.com/office/officeart/2005/8/quickstyle/3d2" qsCatId="3D" csTypeId="urn:microsoft.com/office/officeart/2005/8/colors/colorful2" csCatId="colorful" phldr="1"/>
      <dgm:spPr/>
      <dgm:t>
        <a:bodyPr/>
        <a:lstStyle/>
        <a:p>
          <a:endParaRPr lang="zh-CN" altLang="en-US"/>
        </a:p>
      </dgm:t>
    </dgm:pt>
    <dgm:pt modelId="{E37656C8-C359-472B-90D7-0FF391D42E8B}">
      <dgm:prSet phldrT="[文本]"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r>
            <a:rPr lang="zh-CN" altLang="en-US" b="1" cap="none" spc="50" dirty="0" smtClean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rPr>
            <a:t>开发人员和运维人员容易理解。</a:t>
          </a:r>
          <a:endParaRPr lang="zh-CN" altLang="en-US" b="1" cap="none" spc="50" dirty="0">
            <a:ln w="11430"/>
            <a:gradFill>
              <a:gsLst>
                <a:gs pos="25000">
                  <a:schemeClr val="accent2">
                    <a:satMod val="155000"/>
                  </a:schemeClr>
                </a:gs>
                <a:gs pos="100000">
                  <a:schemeClr val="accent2">
                    <a:shade val="45000"/>
                    <a:satMod val="165000"/>
                  </a:schemeClr>
                </a:gs>
              </a:gsLst>
              <a:lin ang="5400000"/>
            </a:gra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288E4C32-8617-4F3B-9716-95BB6ABCF05B}" type="parTrans" cxnId="{E64F55D3-F2F1-4671-980F-2907A2851469}">
      <dgm:prSet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endParaRPr lang="zh-CN" altLang="en-US" b="1" cap="none" spc="50">
            <a:ln w="11430"/>
            <a:gradFill>
              <a:gsLst>
                <a:gs pos="25000">
                  <a:schemeClr val="accent2">
                    <a:satMod val="155000"/>
                  </a:schemeClr>
                </a:gs>
                <a:gs pos="100000">
                  <a:schemeClr val="accent2">
                    <a:shade val="45000"/>
                    <a:satMod val="165000"/>
                  </a:schemeClr>
                </a:gs>
              </a:gsLst>
              <a:lin ang="5400000"/>
            </a:gra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840DFCF6-5AC6-4D91-AAA6-FE8DCC42748E}" type="sibTrans" cxnId="{E64F55D3-F2F1-4671-980F-2907A2851469}">
      <dgm:prSet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endParaRPr lang="zh-CN" altLang="en-US" b="1" cap="none" spc="50">
            <a:ln w="11430"/>
            <a:gradFill>
              <a:gsLst>
                <a:gs pos="25000">
                  <a:schemeClr val="accent2">
                    <a:satMod val="155000"/>
                  </a:schemeClr>
                </a:gs>
                <a:gs pos="100000">
                  <a:schemeClr val="accent2">
                    <a:shade val="45000"/>
                    <a:satMod val="165000"/>
                  </a:schemeClr>
                </a:gs>
              </a:gsLst>
              <a:lin ang="5400000"/>
            </a:gra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1B31D877-C139-45DB-A5BE-14157BDFEB89}">
      <dgm:prSet phldrT="[文本]"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r>
            <a:rPr lang="zh-CN" altLang="en-US" b="1" cap="none" spc="50" dirty="0" smtClean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rPr>
            <a:t>运维人员根据客户需求定制</a:t>
          </a:r>
          <a:endParaRPr lang="zh-CN" altLang="en-US" b="1" cap="none" spc="50" dirty="0">
            <a:ln w="11430"/>
            <a:gradFill>
              <a:gsLst>
                <a:gs pos="25000">
                  <a:schemeClr val="accent2">
                    <a:satMod val="155000"/>
                  </a:schemeClr>
                </a:gs>
                <a:gs pos="100000">
                  <a:schemeClr val="accent2">
                    <a:shade val="45000"/>
                    <a:satMod val="165000"/>
                  </a:schemeClr>
                </a:gs>
              </a:gsLst>
              <a:lin ang="5400000"/>
            </a:gra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D93BD733-5117-48EF-8682-36F8C94D2A02}" type="parTrans" cxnId="{51591686-D646-4737-B1C2-A13EB82E41A2}">
      <dgm:prSet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endParaRPr lang="zh-CN" altLang="en-US" b="1" cap="none" spc="50">
            <a:ln w="11430"/>
            <a:gradFill>
              <a:gsLst>
                <a:gs pos="25000">
                  <a:schemeClr val="accent2">
                    <a:satMod val="155000"/>
                  </a:schemeClr>
                </a:gs>
                <a:gs pos="100000">
                  <a:schemeClr val="accent2">
                    <a:shade val="45000"/>
                    <a:satMod val="165000"/>
                  </a:schemeClr>
                </a:gs>
              </a:gsLst>
              <a:lin ang="5400000"/>
            </a:gra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66A23739-8E67-4CE6-9ED7-784AF5F48771}" type="sibTrans" cxnId="{51591686-D646-4737-B1C2-A13EB82E41A2}">
      <dgm:prSet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endParaRPr lang="zh-CN" altLang="en-US" b="1" cap="none" spc="50">
            <a:ln w="11430"/>
            <a:gradFill>
              <a:gsLst>
                <a:gs pos="25000">
                  <a:schemeClr val="accent2">
                    <a:satMod val="155000"/>
                  </a:schemeClr>
                </a:gs>
                <a:gs pos="100000">
                  <a:schemeClr val="accent2">
                    <a:shade val="45000"/>
                    <a:satMod val="165000"/>
                  </a:schemeClr>
                </a:gs>
              </a:gsLst>
              <a:lin ang="5400000"/>
            </a:gra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55A68C0C-8022-4001-821E-0B871DD49CF5}">
      <dgm:prSet phldrT="[文本]"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r>
            <a:rPr lang="zh-CN" altLang="en-US" b="1" cap="none" spc="50" dirty="0" smtClean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rPr>
            <a:t>减少耦合，减少工作量</a:t>
          </a:r>
          <a:endParaRPr lang="zh-CN" altLang="en-US" b="1" cap="none" spc="50" dirty="0">
            <a:ln w="11430"/>
            <a:gradFill>
              <a:gsLst>
                <a:gs pos="25000">
                  <a:schemeClr val="accent2">
                    <a:satMod val="155000"/>
                  </a:schemeClr>
                </a:gs>
                <a:gs pos="100000">
                  <a:schemeClr val="accent2">
                    <a:shade val="45000"/>
                    <a:satMod val="165000"/>
                  </a:schemeClr>
                </a:gs>
              </a:gsLst>
              <a:lin ang="5400000"/>
            </a:gra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C150550C-61A3-49EE-A80E-CD1AF5712D70}" type="parTrans" cxnId="{C3707369-09E3-4665-87A4-AFFAA55C998E}">
      <dgm:prSet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endParaRPr lang="zh-CN" altLang="en-US" b="1" cap="none" spc="50">
            <a:ln w="11430"/>
            <a:gradFill>
              <a:gsLst>
                <a:gs pos="25000">
                  <a:schemeClr val="accent2">
                    <a:satMod val="155000"/>
                  </a:schemeClr>
                </a:gs>
                <a:gs pos="100000">
                  <a:schemeClr val="accent2">
                    <a:shade val="45000"/>
                    <a:satMod val="165000"/>
                  </a:schemeClr>
                </a:gs>
              </a:gsLst>
              <a:lin ang="5400000"/>
            </a:gra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4C338310-0B89-40D6-911F-3A27A21F2AE5}" type="sibTrans" cxnId="{C3707369-09E3-4665-87A4-AFFAA55C998E}">
      <dgm:prSet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endParaRPr lang="zh-CN" altLang="en-US" b="1" cap="none" spc="50">
            <a:ln w="11430"/>
            <a:gradFill>
              <a:gsLst>
                <a:gs pos="25000">
                  <a:schemeClr val="accent2">
                    <a:satMod val="155000"/>
                  </a:schemeClr>
                </a:gs>
                <a:gs pos="100000">
                  <a:schemeClr val="accent2">
                    <a:shade val="45000"/>
                    <a:satMod val="165000"/>
                  </a:schemeClr>
                </a:gs>
              </a:gsLst>
              <a:lin ang="5400000"/>
            </a:gra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AED6B662-ED4C-465B-8FCE-5B69D6BBDF32}" type="pres">
      <dgm:prSet presAssocID="{43F93BAA-7E3C-4A23-979B-C52551931D5F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zh-CN" altLang="en-US"/>
        </a:p>
      </dgm:t>
    </dgm:pt>
    <dgm:pt modelId="{0AA16EA9-343A-4220-A40D-B988F3CACC8F}" type="pres">
      <dgm:prSet presAssocID="{43F93BAA-7E3C-4A23-979B-C52551931D5F}" presName="Name1" presStyleCnt="0"/>
      <dgm:spPr/>
    </dgm:pt>
    <dgm:pt modelId="{63F09919-566C-4F53-B41A-5137F04FCD80}" type="pres">
      <dgm:prSet presAssocID="{43F93BAA-7E3C-4A23-979B-C52551931D5F}" presName="cycle" presStyleCnt="0"/>
      <dgm:spPr/>
    </dgm:pt>
    <dgm:pt modelId="{1B188570-8B31-4A0C-9C3E-499CE903A695}" type="pres">
      <dgm:prSet presAssocID="{43F93BAA-7E3C-4A23-979B-C52551931D5F}" presName="srcNode" presStyleLbl="node1" presStyleIdx="0" presStyleCnt="3"/>
      <dgm:spPr/>
    </dgm:pt>
    <dgm:pt modelId="{C945D04E-9FCC-49F3-A6B3-F4E95B13AA14}" type="pres">
      <dgm:prSet presAssocID="{43F93BAA-7E3C-4A23-979B-C52551931D5F}" presName="conn" presStyleLbl="parChTrans1D2" presStyleIdx="0" presStyleCnt="1"/>
      <dgm:spPr/>
      <dgm:t>
        <a:bodyPr/>
        <a:lstStyle/>
        <a:p>
          <a:endParaRPr lang="zh-CN" altLang="en-US"/>
        </a:p>
      </dgm:t>
    </dgm:pt>
    <dgm:pt modelId="{A08E3D23-6787-4756-9594-4401E35C5EFE}" type="pres">
      <dgm:prSet presAssocID="{43F93BAA-7E3C-4A23-979B-C52551931D5F}" presName="extraNode" presStyleLbl="node1" presStyleIdx="0" presStyleCnt="3"/>
      <dgm:spPr/>
    </dgm:pt>
    <dgm:pt modelId="{DA8E817D-C5EA-4DE9-8ED9-77A0D29345EB}" type="pres">
      <dgm:prSet presAssocID="{43F93BAA-7E3C-4A23-979B-C52551931D5F}" presName="dstNode" presStyleLbl="node1" presStyleIdx="0" presStyleCnt="3"/>
      <dgm:spPr/>
    </dgm:pt>
    <dgm:pt modelId="{64A69487-0E72-4FD7-9474-193B7E69900E}" type="pres">
      <dgm:prSet presAssocID="{E37656C8-C359-472B-90D7-0FF391D42E8B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AF879C9-0817-4FAD-9883-034028CF2F71}" type="pres">
      <dgm:prSet presAssocID="{E37656C8-C359-472B-90D7-0FF391D42E8B}" presName="accent_1" presStyleCnt="0"/>
      <dgm:spPr/>
    </dgm:pt>
    <dgm:pt modelId="{CDE28F4C-A5ED-4503-9530-52488B75F523}" type="pres">
      <dgm:prSet presAssocID="{E37656C8-C359-472B-90D7-0FF391D42E8B}" presName="accentRepeatNode" presStyleLbl="solidFgAcc1" presStyleIdx="0" presStyleCnt="3"/>
      <dgm:spPr/>
    </dgm:pt>
    <dgm:pt modelId="{CC06E621-7AC7-4437-BF9A-63F94F6B40C3}" type="pres">
      <dgm:prSet presAssocID="{1B31D877-C139-45DB-A5BE-14157BDFEB89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6C5257F-F5C7-4C94-A917-DBD36CC30463}" type="pres">
      <dgm:prSet presAssocID="{1B31D877-C139-45DB-A5BE-14157BDFEB89}" presName="accent_2" presStyleCnt="0"/>
      <dgm:spPr/>
    </dgm:pt>
    <dgm:pt modelId="{C646404A-0552-49E3-BF25-A68324BB41AF}" type="pres">
      <dgm:prSet presAssocID="{1B31D877-C139-45DB-A5BE-14157BDFEB89}" presName="accentRepeatNode" presStyleLbl="solidFgAcc1" presStyleIdx="1" presStyleCnt="3"/>
      <dgm:spPr/>
    </dgm:pt>
    <dgm:pt modelId="{12BD4CA0-430F-4875-97C7-BF3CC3941A13}" type="pres">
      <dgm:prSet presAssocID="{55A68C0C-8022-4001-821E-0B871DD49CF5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4AFB20D-CDFF-4786-8B98-9581B8EF0086}" type="pres">
      <dgm:prSet presAssocID="{55A68C0C-8022-4001-821E-0B871DD49CF5}" presName="accent_3" presStyleCnt="0"/>
      <dgm:spPr/>
    </dgm:pt>
    <dgm:pt modelId="{497A2B23-1F36-45C3-9237-C1E4E80DD8D1}" type="pres">
      <dgm:prSet presAssocID="{55A68C0C-8022-4001-821E-0B871DD49CF5}" presName="accentRepeatNode" presStyleLbl="solidFgAcc1" presStyleIdx="2" presStyleCnt="3"/>
      <dgm:spPr/>
    </dgm:pt>
  </dgm:ptLst>
  <dgm:cxnLst>
    <dgm:cxn modelId="{4802F414-BFE4-4F80-BD0E-5097741146AB}" type="presOf" srcId="{55A68C0C-8022-4001-821E-0B871DD49CF5}" destId="{12BD4CA0-430F-4875-97C7-BF3CC3941A13}" srcOrd="0" destOrd="0" presId="urn:microsoft.com/office/officeart/2008/layout/VerticalCurvedList"/>
    <dgm:cxn modelId="{C9CEC319-4EEA-48A9-A986-597D6E334FF7}" type="presOf" srcId="{43F93BAA-7E3C-4A23-979B-C52551931D5F}" destId="{AED6B662-ED4C-465B-8FCE-5B69D6BBDF32}" srcOrd="0" destOrd="0" presId="urn:microsoft.com/office/officeart/2008/layout/VerticalCurvedList"/>
    <dgm:cxn modelId="{E64F55D3-F2F1-4671-980F-2907A2851469}" srcId="{43F93BAA-7E3C-4A23-979B-C52551931D5F}" destId="{E37656C8-C359-472B-90D7-0FF391D42E8B}" srcOrd="0" destOrd="0" parTransId="{288E4C32-8617-4F3B-9716-95BB6ABCF05B}" sibTransId="{840DFCF6-5AC6-4D91-AAA6-FE8DCC42748E}"/>
    <dgm:cxn modelId="{C3707369-09E3-4665-87A4-AFFAA55C998E}" srcId="{43F93BAA-7E3C-4A23-979B-C52551931D5F}" destId="{55A68C0C-8022-4001-821E-0B871DD49CF5}" srcOrd="2" destOrd="0" parTransId="{C150550C-61A3-49EE-A80E-CD1AF5712D70}" sibTransId="{4C338310-0B89-40D6-911F-3A27A21F2AE5}"/>
    <dgm:cxn modelId="{51591686-D646-4737-B1C2-A13EB82E41A2}" srcId="{43F93BAA-7E3C-4A23-979B-C52551931D5F}" destId="{1B31D877-C139-45DB-A5BE-14157BDFEB89}" srcOrd="1" destOrd="0" parTransId="{D93BD733-5117-48EF-8682-36F8C94D2A02}" sibTransId="{66A23739-8E67-4CE6-9ED7-784AF5F48771}"/>
    <dgm:cxn modelId="{E3F7DB8A-4EDA-4DA7-A7DD-3E2F31BD45E5}" type="presOf" srcId="{E37656C8-C359-472B-90D7-0FF391D42E8B}" destId="{64A69487-0E72-4FD7-9474-193B7E69900E}" srcOrd="0" destOrd="0" presId="urn:microsoft.com/office/officeart/2008/layout/VerticalCurvedList"/>
    <dgm:cxn modelId="{A713BBE7-5D96-4763-984B-B76020D4235F}" type="presOf" srcId="{1B31D877-C139-45DB-A5BE-14157BDFEB89}" destId="{CC06E621-7AC7-4437-BF9A-63F94F6B40C3}" srcOrd="0" destOrd="0" presId="urn:microsoft.com/office/officeart/2008/layout/VerticalCurvedList"/>
    <dgm:cxn modelId="{5BB3928B-E48A-48B7-9D70-19308367A4A6}" type="presOf" srcId="{840DFCF6-5AC6-4D91-AAA6-FE8DCC42748E}" destId="{C945D04E-9FCC-49F3-A6B3-F4E95B13AA14}" srcOrd="0" destOrd="0" presId="urn:microsoft.com/office/officeart/2008/layout/VerticalCurvedList"/>
    <dgm:cxn modelId="{529B09B6-B4A6-4305-8094-6FAA4C3B3786}" type="presParOf" srcId="{AED6B662-ED4C-465B-8FCE-5B69D6BBDF32}" destId="{0AA16EA9-343A-4220-A40D-B988F3CACC8F}" srcOrd="0" destOrd="0" presId="urn:microsoft.com/office/officeart/2008/layout/VerticalCurvedList"/>
    <dgm:cxn modelId="{E2F3962C-390E-416A-B978-C0F3B1558F03}" type="presParOf" srcId="{0AA16EA9-343A-4220-A40D-B988F3CACC8F}" destId="{63F09919-566C-4F53-B41A-5137F04FCD80}" srcOrd="0" destOrd="0" presId="urn:microsoft.com/office/officeart/2008/layout/VerticalCurvedList"/>
    <dgm:cxn modelId="{17632FC6-A55A-40D4-BD50-7801D71C5775}" type="presParOf" srcId="{63F09919-566C-4F53-B41A-5137F04FCD80}" destId="{1B188570-8B31-4A0C-9C3E-499CE903A695}" srcOrd="0" destOrd="0" presId="urn:microsoft.com/office/officeart/2008/layout/VerticalCurvedList"/>
    <dgm:cxn modelId="{1C64C173-AC73-44EB-AD4D-E015DE733A0F}" type="presParOf" srcId="{63F09919-566C-4F53-B41A-5137F04FCD80}" destId="{C945D04E-9FCC-49F3-A6B3-F4E95B13AA14}" srcOrd="1" destOrd="0" presId="urn:microsoft.com/office/officeart/2008/layout/VerticalCurvedList"/>
    <dgm:cxn modelId="{91DE06C7-2951-4922-A035-DC2A7CAE2B2B}" type="presParOf" srcId="{63F09919-566C-4F53-B41A-5137F04FCD80}" destId="{A08E3D23-6787-4756-9594-4401E35C5EFE}" srcOrd="2" destOrd="0" presId="urn:microsoft.com/office/officeart/2008/layout/VerticalCurvedList"/>
    <dgm:cxn modelId="{E0E531F6-EA3E-47AC-9047-184C02315D6F}" type="presParOf" srcId="{63F09919-566C-4F53-B41A-5137F04FCD80}" destId="{DA8E817D-C5EA-4DE9-8ED9-77A0D29345EB}" srcOrd="3" destOrd="0" presId="urn:microsoft.com/office/officeart/2008/layout/VerticalCurvedList"/>
    <dgm:cxn modelId="{85FF7EA0-13A7-4F8A-9B22-105F5AD6835F}" type="presParOf" srcId="{0AA16EA9-343A-4220-A40D-B988F3CACC8F}" destId="{64A69487-0E72-4FD7-9474-193B7E69900E}" srcOrd="1" destOrd="0" presId="urn:microsoft.com/office/officeart/2008/layout/VerticalCurvedList"/>
    <dgm:cxn modelId="{12D6CF67-ADC7-4674-A20A-E1CBF86A2625}" type="presParOf" srcId="{0AA16EA9-343A-4220-A40D-B988F3CACC8F}" destId="{EAF879C9-0817-4FAD-9883-034028CF2F71}" srcOrd="2" destOrd="0" presId="urn:microsoft.com/office/officeart/2008/layout/VerticalCurvedList"/>
    <dgm:cxn modelId="{29A1C725-79F6-4B4B-9745-495B50F15EC9}" type="presParOf" srcId="{EAF879C9-0817-4FAD-9883-034028CF2F71}" destId="{CDE28F4C-A5ED-4503-9530-52488B75F523}" srcOrd="0" destOrd="0" presId="urn:microsoft.com/office/officeart/2008/layout/VerticalCurvedList"/>
    <dgm:cxn modelId="{4C31FDF5-4106-4CBC-A89A-FADC3E81BAB5}" type="presParOf" srcId="{0AA16EA9-343A-4220-A40D-B988F3CACC8F}" destId="{CC06E621-7AC7-4437-BF9A-63F94F6B40C3}" srcOrd="3" destOrd="0" presId="urn:microsoft.com/office/officeart/2008/layout/VerticalCurvedList"/>
    <dgm:cxn modelId="{E5147B08-6F97-4E2A-ACE6-93F0D42F2874}" type="presParOf" srcId="{0AA16EA9-343A-4220-A40D-B988F3CACC8F}" destId="{26C5257F-F5C7-4C94-A917-DBD36CC30463}" srcOrd="4" destOrd="0" presId="urn:microsoft.com/office/officeart/2008/layout/VerticalCurvedList"/>
    <dgm:cxn modelId="{CA2AF17D-2399-4714-9940-B266A249D20A}" type="presParOf" srcId="{26C5257F-F5C7-4C94-A917-DBD36CC30463}" destId="{C646404A-0552-49E3-BF25-A68324BB41AF}" srcOrd="0" destOrd="0" presId="urn:microsoft.com/office/officeart/2008/layout/VerticalCurvedList"/>
    <dgm:cxn modelId="{313E65BF-5B0B-4113-B2AF-7B0BFCCB5830}" type="presParOf" srcId="{0AA16EA9-343A-4220-A40D-B988F3CACC8F}" destId="{12BD4CA0-430F-4875-97C7-BF3CC3941A13}" srcOrd="5" destOrd="0" presId="urn:microsoft.com/office/officeart/2008/layout/VerticalCurvedList"/>
    <dgm:cxn modelId="{F50CD672-EFD4-4C19-9F52-6F9754D4611A}" type="presParOf" srcId="{0AA16EA9-343A-4220-A40D-B988F3CACC8F}" destId="{B4AFB20D-CDFF-4786-8B98-9581B8EF0086}" srcOrd="6" destOrd="0" presId="urn:microsoft.com/office/officeart/2008/layout/VerticalCurvedList"/>
    <dgm:cxn modelId="{EE02AC94-6FD8-43F8-947E-144A7CF3F4F2}" type="presParOf" srcId="{B4AFB20D-CDFF-4786-8B98-9581B8EF0086}" destId="{497A2B23-1F36-45C3-9237-C1E4E80DD8D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43F93BAA-7E3C-4A23-979B-C52551931D5F}" type="doc">
      <dgm:prSet loTypeId="urn:microsoft.com/office/officeart/2008/layout/VerticalCurvedList" loCatId="list" qsTypeId="urn:microsoft.com/office/officeart/2005/8/quickstyle/3d2" qsCatId="3D" csTypeId="urn:microsoft.com/office/officeart/2005/8/colors/colorful2" csCatId="colorful" phldr="1"/>
      <dgm:spPr/>
      <dgm:t>
        <a:bodyPr/>
        <a:lstStyle/>
        <a:p>
          <a:endParaRPr lang="zh-CN" altLang="en-US"/>
        </a:p>
      </dgm:t>
    </dgm:pt>
    <dgm:pt modelId="{E37656C8-C359-472B-90D7-0FF391D42E8B}">
      <dgm:prSet phldrT="[文本]"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r>
            <a:rPr lang="en-US" altLang="zh-CN" b="1" cap="none" spc="50" dirty="0" err="1" smtClean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rPr>
            <a:t>Mvc</a:t>
          </a:r>
          <a:r>
            <a:rPr lang="zh-CN" altLang="en-US" b="1" cap="none" spc="50" dirty="0" smtClean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rPr>
            <a:t>和</a:t>
          </a:r>
          <a:r>
            <a:rPr lang="en-US" altLang="zh-CN" b="1" cap="none" spc="50" dirty="0" err="1" smtClean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rPr>
            <a:t>WebForm</a:t>
          </a:r>
          <a:r>
            <a:rPr lang="zh-CN" altLang="en-US" b="1" cap="none" spc="50" dirty="0" smtClean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rPr>
            <a:t>都可以使用该规则</a:t>
          </a:r>
          <a:endParaRPr lang="zh-CN" altLang="en-US" b="1" cap="none" spc="50" dirty="0">
            <a:ln w="11430"/>
            <a:gradFill>
              <a:gsLst>
                <a:gs pos="25000">
                  <a:schemeClr val="accent2">
                    <a:satMod val="155000"/>
                  </a:schemeClr>
                </a:gs>
                <a:gs pos="100000">
                  <a:schemeClr val="accent2">
                    <a:shade val="45000"/>
                    <a:satMod val="165000"/>
                  </a:schemeClr>
                </a:gs>
              </a:gsLst>
              <a:lin ang="5400000"/>
            </a:gra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288E4C32-8617-4F3B-9716-95BB6ABCF05B}" type="parTrans" cxnId="{E64F55D3-F2F1-4671-980F-2907A2851469}">
      <dgm:prSet/>
      <dgm:spPr/>
      <dgm:t>
        <a:bodyPr/>
        <a:lstStyle/>
        <a:p>
          <a:endParaRPr lang="zh-CN" altLang="en-US"/>
        </a:p>
      </dgm:t>
    </dgm:pt>
    <dgm:pt modelId="{840DFCF6-5AC6-4D91-AAA6-FE8DCC42748E}" type="sibTrans" cxnId="{E64F55D3-F2F1-4671-980F-2907A2851469}">
      <dgm:prSet/>
      <dgm:spPr/>
      <dgm:t>
        <a:bodyPr/>
        <a:lstStyle/>
        <a:p>
          <a:endParaRPr lang="zh-CN" altLang="en-US"/>
        </a:p>
      </dgm:t>
    </dgm:pt>
    <dgm:pt modelId="{1B31D877-C139-45DB-A5BE-14157BDFEB89}">
      <dgm:prSet phldrT="[文本]"/>
      <dgm:spPr/>
      <dgm:t>
        <a:bodyPr/>
        <a:lstStyle/>
        <a:p>
          <a:r>
            <a:rPr lang="zh-CN" altLang="en-US" dirty="0" smtClean="0"/>
            <a:t>按钮权限可对多种按钮和元素进行控制</a:t>
          </a:r>
          <a:endParaRPr lang="zh-CN" altLang="en-US" dirty="0"/>
        </a:p>
      </dgm:t>
    </dgm:pt>
    <dgm:pt modelId="{D93BD733-5117-48EF-8682-36F8C94D2A02}" type="parTrans" cxnId="{51591686-D646-4737-B1C2-A13EB82E41A2}">
      <dgm:prSet/>
      <dgm:spPr/>
      <dgm:t>
        <a:bodyPr/>
        <a:lstStyle/>
        <a:p>
          <a:endParaRPr lang="zh-CN" altLang="en-US"/>
        </a:p>
      </dgm:t>
    </dgm:pt>
    <dgm:pt modelId="{66A23739-8E67-4CE6-9ED7-784AF5F48771}" type="sibTrans" cxnId="{51591686-D646-4737-B1C2-A13EB82E41A2}">
      <dgm:prSet/>
      <dgm:spPr/>
      <dgm:t>
        <a:bodyPr/>
        <a:lstStyle/>
        <a:p>
          <a:endParaRPr lang="zh-CN" altLang="en-US"/>
        </a:p>
      </dgm:t>
    </dgm:pt>
    <dgm:pt modelId="{55A68C0C-8022-4001-821E-0B871DD49CF5}">
      <dgm:prSet phldrT="[文本]"/>
      <dgm:spPr/>
      <dgm:t>
        <a:bodyPr/>
        <a:lstStyle/>
        <a:p>
          <a:r>
            <a:rPr lang="zh-CN" altLang="en-US" dirty="0" smtClean="0"/>
            <a:t>行集权限不限个数。</a:t>
          </a:r>
          <a:endParaRPr lang="zh-CN" altLang="en-US" dirty="0"/>
        </a:p>
      </dgm:t>
    </dgm:pt>
    <dgm:pt modelId="{C150550C-61A3-49EE-A80E-CD1AF5712D70}" type="parTrans" cxnId="{C3707369-09E3-4665-87A4-AFFAA55C998E}">
      <dgm:prSet/>
      <dgm:spPr/>
      <dgm:t>
        <a:bodyPr/>
        <a:lstStyle/>
        <a:p>
          <a:endParaRPr lang="zh-CN" altLang="en-US"/>
        </a:p>
      </dgm:t>
    </dgm:pt>
    <dgm:pt modelId="{4C338310-0B89-40D6-911F-3A27A21F2AE5}" type="sibTrans" cxnId="{C3707369-09E3-4665-87A4-AFFAA55C998E}">
      <dgm:prSet/>
      <dgm:spPr/>
      <dgm:t>
        <a:bodyPr/>
        <a:lstStyle/>
        <a:p>
          <a:endParaRPr lang="zh-CN" altLang="en-US"/>
        </a:p>
      </dgm:t>
    </dgm:pt>
    <dgm:pt modelId="{AED6B662-ED4C-465B-8FCE-5B69D6BBDF32}" type="pres">
      <dgm:prSet presAssocID="{43F93BAA-7E3C-4A23-979B-C52551931D5F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zh-CN" altLang="en-US"/>
        </a:p>
      </dgm:t>
    </dgm:pt>
    <dgm:pt modelId="{0AA16EA9-343A-4220-A40D-B988F3CACC8F}" type="pres">
      <dgm:prSet presAssocID="{43F93BAA-7E3C-4A23-979B-C52551931D5F}" presName="Name1" presStyleCnt="0"/>
      <dgm:spPr/>
    </dgm:pt>
    <dgm:pt modelId="{63F09919-566C-4F53-B41A-5137F04FCD80}" type="pres">
      <dgm:prSet presAssocID="{43F93BAA-7E3C-4A23-979B-C52551931D5F}" presName="cycle" presStyleCnt="0"/>
      <dgm:spPr/>
    </dgm:pt>
    <dgm:pt modelId="{1B188570-8B31-4A0C-9C3E-499CE903A695}" type="pres">
      <dgm:prSet presAssocID="{43F93BAA-7E3C-4A23-979B-C52551931D5F}" presName="srcNode" presStyleLbl="node1" presStyleIdx="0" presStyleCnt="3"/>
      <dgm:spPr/>
    </dgm:pt>
    <dgm:pt modelId="{C945D04E-9FCC-49F3-A6B3-F4E95B13AA14}" type="pres">
      <dgm:prSet presAssocID="{43F93BAA-7E3C-4A23-979B-C52551931D5F}" presName="conn" presStyleLbl="parChTrans1D2" presStyleIdx="0" presStyleCnt="1"/>
      <dgm:spPr/>
      <dgm:t>
        <a:bodyPr/>
        <a:lstStyle/>
        <a:p>
          <a:endParaRPr lang="zh-CN" altLang="en-US"/>
        </a:p>
      </dgm:t>
    </dgm:pt>
    <dgm:pt modelId="{A08E3D23-6787-4756-9594-4401E35C5EFE}" type="pres">
      <dgm:prSet presAssocID="{43F93BAA-7E3C-4A23-979B-C52551931D5F}" presName="extraNode" presStyleLbl="node1" presStyleIdx="0" presStyleCnt="3"/>
      <dgm:spPr/>
    </dgm:pt>
    <dgm:pt modelId="{DA8E817D-C5EA-4DE9-8ED9-77A0D29345EB}" type="pres">
      <dgm:prSet presAssocID="{43F93BAA-7E3C-4A23-979B-C52551931D5F}" presName="dstNode" presStyleLbl="node1" presStyleIdx="0" presStyleCnt="3"/>
      <dgm:spPr/>
    </dgm:pt>
    <dgm:pt modelId="{64A69487-0E72-4FD7-9474-193B7E69900E}" type="pres">
      <dgm:prSet presAssocID="{E37656C8-C359-472B-90D7-0FF391D42E8B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AF879C9-0817-4FAD-9883-034028CF2F71}" type="pres">
      <dgm:prSet presAssocID="{E37656C8-C359-472B-90D7-0FF391D42E8B}" presName="accent_1" presStyleCnt="0"/>
      <dgm:spPr/>
    </dgm:pt>
    <dgm:pt modelId="{CDE28F4C-A5ED-4503-9530-52488B75F523}" type="pres">
      <dgm:prSet presAssocID="{E37656C8-C359-472B-90D7-0FF391D42E8B}" presName="accentRepeatNode" presStyleLbl="solidFgAcc1" presStyleIdx="0" presStyleCnt="3"/>
      <dgm:spPr/>
    </dgm:pt>
    <dgm:pt modelId="{CC06E621-7AC7-4437-BF9A-63F94F6B40C3}" type="pres">
      <dgm:prSet presAssocID="{1B31D877-C139-45DB-A5BE-14157BDFEB89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6C5257F-F5C7-4C94-A917-DBD36CC30463}" type="pres">
      <dgm:prSet presAssocID="{1B31D877-C139-45DB-A5BE-14157BDFEB89}" presName="accent_2" presStyleCnt="0"/>
      <dgm:spPr/>
    </dgm:pt>
    <dgm:pt modelId="{C646404A-0552-49E3-BF25-A68324BB41AF}" type="pres">
      <dgm:prSet presAssocID="{1B31D877-C139-45DB-A5BE-14157BDFEB89}" presName="accentRepeatNode" presStyleLbl="solidFgAcc1" presStyleIdx="1" presStyleCnt="3"/>
      <dgm:spPr/>
    </dgm:pt>
    <dgm:pt modelId="{12BD4CA0-430F-4875-97C7-BF3CC3941A13}" type="pres">
      <dgm:prSet presAssocID="{55A68C0C-8022-4001-821E-0B871DD49CF5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4AFB20D-CDFF-4786-8B98-9581B8EF0086}" type="pres">
      <dgm:prSet presAssocID="{55A68C0C-8022-4001-821E-0B871DD49CF5}" presName="accent_3" presStyleCnt="0"/>
      <dgm:spPr/>
    </dgm:pt>
    <dgm:pt modelId="{497A2B23-1F36-45C3-9237-C1E4E80DD8D1}" type="pres">
      <dgm:prSet presAssocID="{55A68C0C-8022-4001-821E-0B871DD49CF5}" presName="accentRepeatNode" presStyleLbl="solidFgAcc1" presStyleIdx="2" presStyleCnt="3"/>
      <dgm:spPr/>
    </dgm:pt>
  </dgm:ptLst>
  <dgm:cxnLst>
    <dgm:cxn modelId="{81425CE0-3C98-463B-817F-6706060F9765}" type="presOf" srcId="{1B31D877-C139-45DB-A5BE-14157BDFEB89}" destId="{CC06E621-7AC7-4437-BF9A-63F94F6B40C3}" srcOrd="0" destOrd="0" presId="urn:microsoft.com/office/officeart/2008/layout/VerticalCurvedList"/>
    <dgm:cxn modelId="{E64F55D3-F2F1-4671-980F-2907A2851469}" srcId="{43F93BAA-7E3C-4A23-979B-C52551931D5F}" destId="{E37656C8-C359-472B-90D7-0FF391D42E8B}" srcOrd="0" destOrd="0" parTransId="{288E4C32-8617-4F3B-9716-95BB6ABCF05B}" sibTransId="{840DFCF6-5AC6-4D91-AAA6-FE8DCC42748E}"/>
    <dgm:cxn modelId="{580DCD5F-D448-4B35-90F4-EA6D83A4F968}" type="presOf" srcId="{43F93BAA-7E3C-4A23-979B-C52551931D5F}" destId="{AED6B662-ED4C-465B-8FCE-5B69D6BBDF32}" srcOrd="0" destOrd="0" presId="urn:microsoft.com/office/officeart/2008/layout/VerticalCurvedList"/>
    <dgm:cxn modelId="{C3707369-09E3-4665-87A4-AFFAA55C998E}" srcId="{43F93BAA-7E3C-4A23-979B-C52551931D5F}" destId="{55A68C0C-8022-4001-821E-0B871DD49CF5}" srcOrd="2" destOrd="0" parTransId="{C150550C-61A3-49EE-A80E-CD1AF5712D70}" sibTransId="{4C338310-0B89-40D6-911F-3A27A21F2AE5}"/>
    <dgm:cxn modelId="{94306BE9-363E-4136-9B25-D63BAB9DE995}" type="presOf" srcId="{55A68C0C-8022-4001-821E-0B871DD49CF5}" destId="{12BD4CA0-430F-4875-97C7-BF3CC3941A13}" srcOrd="0" destOrd="0" presId="urn:microsoft.com/office/officeart/2008/layout/VerticalCurvedList"/>
    <dgm:cxn modelId="{51591686-D646-4737-B1C2-A13EB82E41A2}" srcId="{43F93BAA-7E3C-4A23-979B-C52551931D5F}" destId="{1B31D877-C139-45DB-A5BE-14157BDFEB89}" srcOrd="1" destOrd="0" parTransId="{D93BD733-5117-48EF-8682-36F8C94D2A02}" sibTransId="{66A23739-8E67-4CE6-9ED7-784AF5F48771}"/>
    <dgm:cxn modelId="{217F88F1-4B1A-4896-B9EE-BCBBD27C4C2C}" type="presOf" srcId="{E37656C8-C359-472B-90D7-0FF391D42E8B}" destId="{64A69487-0E72-4FD7-9474-193B7E69900E}" srcOrd="0" destOrd="0" presId="urn:microsoft.com/office/officeart/2008/layout/VerticalCurvedList"/>
    <dgm:cxn modelId="{4903750E-19AA-4B89-9E56-745619436F05}" type="presOf" srcId="{840DFCF6-5AC6-4D91-AAA6-FE8DCC42748E}" destId="{C945D04E-9FCC-49F3-A6B3-F4E95B13AA14}" srcOrd="0" destOrd="0" presId="urn:microsoft.com/office/officeart/2008/layout/VerticalCurvedList"/>
    <dgm:cxn modelId="{5405C03A-0B92-47E1-80C3-181B2C63279E}" type="presParOf" srcId="{AED6B662-ED4C-465B-8FCE-5B69D6BBDF32}" destId="{0AA16EA9-343A-4220-A40D-B988F3CACC8F}" srcOrd="0" destOrd="0" presId="urn:microsoft.com/office/officeart/2008/layout/VerticalCurvedList"/>
    <dgm:cxn modelId="{6DCAB1B9-940E-4170-BEF1-B7042AF31614}" type="presParOf" srcId="{0AA16EA9-343A-4220-A40D-B988F3CACC8F}" destId="{63F09919-566C-4F53-B41A-5137F04FCD80}" srcOrd="0" destOrd="0" presId="urn:microsoft.com/office/officeart/2008/layout/VerticalCurvedList"/>
    <dgm:cxn modelId="{FA33C9D5-9E68-4A6E-8907-6339CEDADDFA}" type="presParOf" srcId="{63F09919-566C-4F53-B41A-5137F04FCD80}" destId="{1B188570-8B31-4A0C-9C3E-499CE903A695}" srcOrd="0" destOrd="0" presId="urn:microsoft.com/office/officeart/2008/layout/VerticalCurvedList"/>
    <dgm:cxn modelId="{42C9A669-B4D5-47C1-9AC3-718696029526}" type="presParOf" srcId="{63F09919-566C-4F53-B41A-5137F04FCD80}" destId="{C945D04E-9FCC-49F3-A6B3-F4E95B13AA14}" srcOrd="1" destOrd="0" presId="urn:microsoft.com/office/officeart/2008/layout/VerticalCurvedList"/>
    <dgm:cxn modelId="{A4184745-55F2-4214-9704-A029969CA9AE}" type="presParOf" srcId="{63F09919-566C-4F53-B41A-5137F04FCD80}" destId="{A08E3D23-6787-4756-9594-4401E35C5EFE}" srcOrd="2" destOrd="0" presId="urn:microsoft.com/office/officeart/2008/layout/VerticalCurvedList"/>
    <dgm:cxn modelId="{6ED2EB63-F949-4BAB-89B0-FDEA68C3EA4C}" type="presParOf" srcId="{63F09919-566C-4F53-B41A-5137F04FCD80}" destId="{DA8E817D-C5EA-4DE9-8ED9-77A0D29345EB}" srcOrd="3" destOrd="0" presId="urn:microsoft.com/office/officeart/2008/layout/VerticalCurvedList"/>
    <dgm:cxn modelId="{29EB61F3-9809-491A-9D80-2865FB8A822E}" type="presParOf" srcId="{0AA16EA9-343A-4220-A40D-B988F3CACC8F}" destId="{64A69487-0E72-4FD7-9474-193B7E69900E}" srcOrd="1" destOrd="0" presId="urn:microsoft.com/office/officeart/2008/layout/VerticalCurvedList"/>
    <dgm:cxn modelId="{8C5B57F3-9EC7-4795-B601-9AABD9FBFE42}" type="presParOf" srcId="{0AA16EA9-343A-4220-A40D-B988F3CACC8F}" destId="{EAF879C9-0817-4FAD-9883-034028CF2F71}" srcOrd="2" destOrd="0" presId="urn:microsoft.com/office/officeart/2008/layout/VerticalCurvedList"/>
    <dgm:cxn modelId="{191C389F-6E7E-4E2F-B2AD-46807A1BC470}" type="presParOf" srcId="{EAF879C9-0817-4FAD-9883-034028CF2F71}" destId="{CDE28F4C-A5ED-4503-9530-52488B75F523}" srcOrd="0" destOrd="0" presId="urn:microsoft.com/office/officeart/2008/layout/VerticalCurvedList"/>
    <dgm:cxn modelId="{135F2EE3-B695-4D54-AEC1-42326ED72225}" type="presParOf" srcId="{0AA16EA9-343A-4220-A40D-B988F3CACC8F}" destId="{CC06E621-7AC7-4437-BF9A-63F94F6B40C3}" srcOrd="3" destOrd="0" presId="urn:microsoft.com/office/officeart/2008/layout/VerticalCurvedList"/>
    <dgm:cxn modelId="{F0A492AE-4515-46E8-BFF5-E603920C2ECF}" type="presParOf" srcId="{0AA16EA9-343A-4220-A40D-B988F3CACC8F}" destId="{26C5257F-F5C7-4C94-A917-DBD36CC30463}" srcOrd="4" destOrd="0" presId="urn:microsoft.com/office/officeart/2008/layout/VerticalCurvedList"/>
    <dgm:cxn modelId="{A4B47085-BC3F-4250-A981-06433815BC4B}" type="presParOf" srcId="{26C5257F-F5C7-4C94-A917-DBD36CC30463}" destId="{C646404A-0552-49E3-BF25-A68324BB41AF}" srcOrd="0" destOrd="0" presId="urn:microsoft.com/office/officeart/2008/layout/VerticalCurvedList"/>
    <dgm:cxn modelId="{55CEA896-6E49-43F0-9D18-517B50F43527}" type="presParOf" srcId="{0AA16EA9-343A-4220-A40D-B988F3CACC8F}" destId="{12BD4CA0-430F-4875-97C7-BF3CC3941A13}" srcOrd="5" destOrd="0" presId="urn:microsoft.com/office/officeart/2008/layout/VerticalCurvedList"/>
    <dgm:cxn modelId="{F29B5DC9-B966-4581-9883-99A986819247}" type="presParOf" srcId="{0AA16EA9-343A-4220-A40D-B988F3CACC8F}" destId="{B4AFB20D-CDFF-4786-8B98-9581B8EF0086}" srcOrd="6" destOrd="0" presId="urn:microsoft.com/office/officeart/2008/layout/VerticalCurvedList"/>
    <dgm:cxn modelId="{0621CC79-F93C-4E0D-B8B0-B5E86D3D78E5}" type="presParOf" srcId="{B4AFB20D-CDFF-4786-8B98-9581B8EF0086}" destId="{497A2B23-1F36-45C3-9237-C1E4E80DD8D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1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7021766F-AEAE-43FB-85F0-1BC0668834AD}" type="doc">
      <dgm:prSet loTypeId="urn:microsoft.com/office/officeart/2005/8/layout/hList9" loCatId="list" qsTypeId="urn:microsoft.com/office/officeart/2005/8/quickstyle/3d2" qsCatId="3D" csTypeId="urn:microsoft.com/office/officeart/2005/8/colors/colorful3" csCatId="colorful" phldr="1"/>
      <dgm:spPr/>
      <dgm:t>
        <a:bodyPr/>
        <a:lstStyle/>
        <a:p>
          <a:endParaRPr lang="zh-CN" altLang="en-US"/>
        </a:p>
      </dgm:t>
    </dgm:pt>
    <dgm:pt modelId="{FFC30811-3108-4168-98CE-4BD38A4FF335}">
      <dgm:prSet phldrT="[文本]"/>
      <dgm:spPr/>
      <dgm:t>
        <a:bodyPr/>
        <a:lstStyle/>
        <a:p>
          <a:r>
            <a:rPr lang="zh-CN" altLang="en-US" dirty="0" smtClean="0"/>
            <a:t>解决方案</a:t>
          </a:r>
          <a:endParaRPr lang="zh-CN" altLang="en-US" dirty="0"/>
        </a:p>
      </dgm:t>
    </dgm:pt>
    <dgm:pt modelId="{622AA021-14B4-474B-B4A0-3C1380D40F68}" type="parTrans" cxnId="{39821BAE-34BE-4057-B65C-F45CACE72DBE}">
      <dgm:prSet/>
      <dgm:spPr/>
      <dgm:t>
        <a:bodyPr/>
        <a:lstStyle/>
        <a:p>
          <a:endParaRPr lang="zh-CN" altLang="en-US"/>
        </a:p>
      </dgm:t>
    </dgm:pt>
    <dgm:pt modelId="{C24F76D3-9331-405B-AA01-D9851E6BE755}" type="sibTrans" cxnId="{39821BAE-34BE-4057-B65C-F45CACE72DBE}">
      <dgm:prSet/>
      <dgm:spPr/>
      <dgm:t>
        <a:bodyPr/>
        <a:lstStyle/>
        <a:p>
          <a:endParaRPr lang="zh-CN" altLang="en-US"/>
        </a:p>
      </dgm:t>
    </dgm:pt>
    <dgm:pt modelId="{325025A2-130D-4718-AA43-6CFE71A084BC}">
      <dgm:prSet phldrT="[文本]"/>
      <dgm:spPr/>
      <dgm:t>
        <a:bodyPr/>
        <a:lstStyle/>
        <a:p>
          <a:pPr algn="ctr"/>
          <a:r>
            <a:rPr lang="zh-CN" altLang="en-US" dirty="0" smtClean="0"/>
            <a:t>业务功能</a:t>
          </a:r>
          <a:endParaRPr lang="zh-CN" altLang="en-US" dirty="0"/>
        </a:p>
      </dgm:t>
    </dgm:pt>
    <dgm:pt modelId="{1AADEF39-C075-4011-B740-B1EA802F8256}" type="parTrans" cxnId="{60B417C6-5B2E-4FDA-B883-C0622C219DF3}">
      <dgm:prSet/>
      <dgm:spPr/>
      <dgm:t>
        <a:bodyPr/>
        <a:lstStyle/>
        <a:p>
          <a:endParaRPr lang="zh-CN" altLang="en-US"/>
        </a:p>
      </dgm:t>
    </dgm:pt>
    <dgm:pt modelId="{A72050DF-9183-414B-853B-4EFEDA53E096}" type="sibTrans" cxnId="{60B417C6-5B2E-4FDA-B883-C0622C219DF3}">
      <dgm:prSet/>
      <dgm:spPr/>
      <dgm:t>
        <a:bodyPr/>
        <a:lstStyle/>
        <a:p>
          <a:endParaRPr lang="zh-CN" altLang="en-US"/>
        </a:p>
      </dgm:t>
    </dgm:pt>
    <dgm:pt modelId="{4D2D473D-8945-49E9-A085-C492C09F133A}" type="pres">
      <dgm:prSet presAssocID="{7021766F-AEAE-43FB-85F0-1BC0668834AD}" presName="list" presStyleCnt="0">
        <dgm:presLayoutVars>
          <dgm:dir/>
          <dgm:animLvl val="lvl"/>
        </dgm:presLayoutVars>
      </dgm:prSet>
      <dgm:spPr/>
      <dgm:t>
        <a:bodyPr/>
        <a:lstStyle/>
        <a:p>
          <a:endParaRPr lang="zh-CN" altLang="en-US"/>
        </a:p>
      </dgm:t>
    </dgm:pt>
    <dgm:pt modelId="{5E0DE069-372A-493F-9DCE-02ECBE556CD8}" type="pres">
      <dgm:prSet presAssocID="{FFC30811-3108-4168-98CE-4BD38A4FF335}" presName="posSpace" presStyleCnt="0"/>
      <dgm:spPr/>
    </dgm:pt>
    <dgm:pt modelId="{99FC2476-1CAA-4399-94BA-39162C0D9B59}" type="pres">
      <dgm:prSet presAssocID="{FFC30811-3108-4168-98CE-4BD38A4FF335}" presName="vertFlow" presStyleCnt="0"/>
      <dgm:spPr/>
    </dgm:pt>
    <dgm:pt modelId="{F32D7131-CAF2-4170-80D6-EBE7A617D6AE}" type="pres">
      <dgm:prSet presAssocID="{FFC30811-3108-4168-98CE-4BD38A4FF335}" presName="topSpace" presStyleCnt="0"/>
      <dgm:spPr/>
    </dgm:pt>
    <dgm:pt modelId="{FFAD51FE-E50D-45DA-914E-EBF639D3CFDE}" type="pres">
      <dgm:prSet presAssocID="{FFC30811-3108-4168-98CE-4BD38A4FF335}" presName="firstComp" presStyleCnt="0"/>
      <dgm:spPr/>
    </dgm:pt>
    <dgm:pt modelId="{F50D46D9-5C57-46D2-8025-B74CE606EE13}" type="pres">
      <dgm:prSet presAssocID="{FFC30811-3108-4168-98CE-4BD38A4FF335}" presName="firstChild" presStyleLbl="bgAccFollowNode1" presStyleIdx="0" presStyleCnt="1" custScaleX="113735"/>
      <dgm:spPr/>
      <dgm:t>
        <a:bodyPr/>
        <a:lstStyle/>
        <a:p>
          <a:endParaRPr lang="zh-CN" altLang="en-US"/>
        </a:p>
      </dgm:t>
    </dgm:pt>
    <dgm:pt modelId="{9463225C-594C-4FAE-BA52-1D5D9933E23B}" type="pres">
      <dgm:prSet presAssocID="{FFC30811-3108-4168-98CE-4BD38A4FF335}" presName="firstChildTx" presStyleLbl="bg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A44BD13-8D75-4610-A219-D09CA166C236}" type="pres">
      <dgm:prSet presAssocID="{FFC30811-3108-4168-98CE-4BD38A4FF335}" presName="negSpace" presStyleCnt="0"/>
      <dgm:spPr/>
    </dgm:pt>
    <dgm:pt modelId="{FAA27CC1-913E-46FA-8627-981FC9914539}" type="pres">
      <dgm:prSet presAssocID="{FFC30811-3108-4168-98CE-4BD38A4FF335}" presName="circle" presStyleLbl="node1" presStyleIdx="0" presStyleCnt="1" custLinFactNeighborX="-15983" custLinFactNeighborY="-832"/>
      <dgm:spPr/>
      <dgm:t>
        <a:bodyPr/>
        <a:lstStyle/>
        <a:p>
          <a:endParaRPr lang="zh-CN" altLang="en-US"/>
        </a:p>
      </dgm:t>
    </dgm:pt>
  </dgm:ptLst>
  <dgm:cxnLst>
    <dgm:cxn modelId="{8FC98CA6-DB12-4FC2-BF13-CF56C151E002}" type="presOf" srcId="{325025A2-130D-4718-AA43-6CFE71A084BC}" destId="{F50D46D9-5C57-46D2-8025-B74CE606EE13}" srcOrd="0" destOrd="0" presId="urn:microsoft.com/office/officeart/2005/8/layout/hList9"/>
    <dgm:cxn modelId="{60B417C6-5B2E-4FDA-B883-C0622C219DF3}" srcId="{FFC30811-3108-4168-98CE-4BD38A4FF335}" destId="{325025A2-130D-4718-AA43-6CFE71A084BC}" srcOrd="0" destOrd="0" parTransId="{1AADEF39-C075-4011-B740-B1EA802F8256}" sibTransId="{A72050DF-9183-414B-853B-4EFEDA53E096}"/>
    <dgm:cxn modelId="{88447F2C-8C4C-4CC0-B74D-F54622A73B18}" type="presOf" srcId="{FFC30811-3108-4168-98CE-4BD38A4FF335}" destId="{FAA27CC1-913E-46FA-8627-981FC9914539}" srcOrd="0" destOrd="0" presId="urn:microsoft.com/office/officeart/2005/8/layout/hList9"/>
    <dgm:cxn modelId="{39821BAE-34BE-4057-B65C-F45CACE72DBE}" srcId="{7021766F-AEAE-43FB-85F0-1BC0668834AD}" destId="{FFC30811-3108-4168-98CE-4BD38A4FF335}" srcOrd="0" destOrd="0" parTransId="{622AA021-14B4-474B-B4A0-3C1380D40F68}" sibTransId="{C24F76D3-9331-405B-AA01-D9851E6BE755}"/>
    <dgm:cxn modelId="{F3C93C78-5FF5-456A-B5A4-56F470221B1A}" type="presOf" srcId="{7021766F-AEAE-43FB-85F0-1BC0668834AD}" destId="{4D2D473D-8945-49E9-A085-C492C09F133A}" srcOrd="0" destOrd="0" presId="urn:microsoft.com/office/officeart/2005/8/layout/hList9"/>
    <dgm:cxn modelId="{B484FDE6-9669-46FC-BA91-93B7C81ACA19}" type="presOf" srcId="{325025A2-130D-4718-AA43-6CFE71A084BC}" destId="{9463225C-594C-4FAE-BA52-1D5D9933E23B}" srcOrd="1" destOrd="0" presId="urn:microsoft.com/office/officeart/2005/8/layout/hList9"/>
    <dgm:cxn modelId="{E0C0F223-F041-40D5-B537-474219EA8766}" type="presParOf" srcId="{4D2D473D-8945-49E9-A085-C492C09F133A}" destId="{5E0DE069-372A-493F-9DCE-02ECBE556CD8}" srcOrd="0" destOrd="0" presId="urn:microsoft.com/office/officeart/2005/8/layout/hList9"/>
    <dgm:cxn modelId="{569E71CA-B9D9-4B9D-9C50-75E7B7BED1D2}" type="presParOf" srcId="{4D2D473D-8945-49E9-A085-C492C09F133A}" destId="{99FC2476-1CAA-4399-94BA-39162C0D9B59}" srcOrd="1" destOrd="0" presId="urn:microsoft.com/office/officeart/2005/8/layout/hList9"/>
    <dgm:cxn modelId="{51AD6D22-3490-41D7-BF6C-B428446F1E7B}" type="presParOf" srcId="{99FC2476-1CAA-4399-94BA-39162C0D9B59}" destId="{F32D7131-CAF2-4170-80D6-EBE7A617D6AE}" srcOrd="0" destOrd="0" presId="urn:microsoft.com/office/officeart/2005/8/layout/hList9"/>
    <dgm:cxn modelId="{EE5FC7C3-C835-43FF-BC64-F151BE9DF15A}" type="presParOf" srcId="{99FC2476-1CAA-4399-94BA-39162C0D9B59}" destId="{FFAD51FE-E50D-45DA-914E-EBF639D3CFDE}" srcOrd="1" destOrd="0" presId="urn:microsoft.com/office/officeart/2005/8/layout/hList9"/>
    <dgm:cxn modelId="{29F917B3-F9B6-413F-9812-980D5BB38F2E}" type="presParOf" srcId="{FFAD51FE-E50D-45DA-914E-EBF639D3CFDE}" destId="{F50D46D9-5C57-46D2-8025-B74CE606EE13}" srcOrd="0" destOrd="0" presId="urn:microsoft.com/office/officeart/2005/8/layout/hList9"/>
    <dgm:cxn modelId="{99FDE379-3816-4A03-8F2D-10EAE64CED66}" type="presParOf" srcId="{FFAD51FE-E50D-45DA-914E-EBF639D3CFDE}" destId="{9463225C-594C-4FAE-BA52-1D5D9933E23B}" srcOrd="1" destOrd="0" presId="urn:microsoft.com/office/officeart/2005/8/layout/hList9"/>
    <dgm:cxn modelId="{2C2EF565-BC67-4613-9038-A9E18BCF5014}" type="presParOf" srcId="{4D2D473D-8945-49E9-A085-C492C09F133A}" destId="{8A44BD13-8D75-4610-A219-D09CA166C236}" srcOrd="2" destOrd="0" presId="urn:microsoft.com/office/officeart/2005/8/layout/hList9"/>
    <dgm:cxn modelId="{7B191FD5-C955-47E9-96C2-E64B66CD35CE}" type="presParOf" srcId="{4D2D473D-8945-49E9-A085-C492C09F133A}" destId="{FAA27CC1-913E-46FA-8627-981FC9914539}" srcOrd="3" destOrd="0" presId="urn:microsoft.com/office/officeart/2005/8/layout/hList9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E4C54A3A-01A4-403D-BBFD-88978E00ECE9}" type="doc">
      <dgm:prSet loTypeId="urn:microsoft.com/office/officeart/2008/layout/VerticalCurvedList" loCatId="list" qsTypeId="urn:microsoft.com/office/officeart/2005/8/quickstyle/3d2" qsCatId="3D" csTypeId="urn:microsoft.com/office/officeart/2005/8/colors/colorful3" csCatId="colorful" phldr="1"/>
      <dgm:spPr/>
      <dgm:t>
        <a:bodyPr/>
        <a:lstStyle/>
        <a:p>
          <a:endParaRPr lang="zh-CN" altLang="en-US"/>
        </a:p>
      </dgm:t>
    </dgm:pt>
    <dgm:pt modelId="{FAA4D6B7-D6F2-4790-86D9-7B6668377FC3}">
      <dgm:prSet phldrT="[文本]"/>
      <dgm:spPr/>
      <dgm:t>
        <a:bodyPr/>
        <a:lstStyle/>
        <a:p>
          <a:r>
            <a:rPr lang="zh-CN" altLang="en-US" dirty="0" smtClean="0"/>
            <a:t>采用</a:t>
          </a:r>
          <a:r>
            <a:rPr lang="en-US" altLang="zh-CN" dirty="0" smtClean="0"/>
            <a:t>MS</a:t>
          </a:r>
          <a:r>
            <a:rPr lang="zh-CN" altLang="en-US" dirty="0" smtClean="0"/>
            <a:t>的</a:t>
          </a:r>
          <a:r>
            <a:rPr lang="en-US" altLang="zh-CN" dirty="0" err="1" smtClean="0"/>
            <a:t>ReportViewer+RDLC</a:t>
          </a:r>
          <a:endParaRPr lang="zh-CN" altLang="en-US" dirty="0"/>
        </a:p>
      </dgm:t>
    </dgm:pt>
    <dgm:pt modelId="{AD7CE3BB-D8AB-42D0-9024-C7980F0A4453}" type="parTrans" cxnId="{4531A683-9BEB-474D-B9CF-6EB52A16DA70}">
      <dgm:prSet/>
      <dgm:spPr/>
      <dgm:t>
        <a:bodyPr/>
        <a:lstStyle/>
        <a:p>
          <a:endParaRPr lang="zh-CN" altLang="en-US"/>
        </a:p>
      </dgm:t>
    </dgm:pt>
    <dgm:pt modelId="{9E9B07DB-F8C8-4585-B7AA-964D29191CC3}" type="sibTrans" cxnId="{4531A683-9BEB-474D-B9CF-6EB52A16DA70}">
      <dgm:prSet/>
      <dgm:spPr/>
      <dgm:t>
        <a:bodyPr/>
        <a:lstStyle/>
        <a:p>
          <a:endParaRPr lang="zh-CN" altLang="en-US"/>
        </a:p>
      </dgm:t>
    </dgm:pt>
    <dgm:pt modelId="{F942790F-A549-4D4B-97A8-DCDA67C74A5A}">
      <dgm:prSet phldrT="[文本]"/>
      <dgm:spPr/>
      <dgm:t>
        <a:bodyPr/>
        <a:lstStyle/>
        <a:p>
          <a:r>
            <a:rPr lang="zh-CN" altLang="en-US" dirty="0" smtClean="0"/>
            <a:t>报表数据分页</a:t>
          </a:r>
          <a:endParaRPr lang="zh-CN" altLang="en-US" dirty="0"/>
        </a:p>
      </dgm:t>
    </dgm:pt>
    <dgm:pt modelId="{8C2B84B7-BCA4-469B-B0DD-02E0DC1A8BFE}" type="parTrans" cxnId="{2CF4CD87-1F48-457F-B451-8ADB8A9315A7}">
      <dgm:prSet/>
      <dgm:spPr/>
      <dgm:t>
        <a:bodyPr/>
        <a:lstStyle/>
        <a:p>
          <a:endParaRPr lang="zh-CN" altLang="en-US"/>
        </a:p>
      </dgm:t>
    </dgm:pt>
    <dgm:pt modelId="{5F8E5B31-220D-4F2D-97B8-008E92F6797F}" type="sibTrans" cxnId="{2CF4CD87-1F48-457F-B451-8ADB8A9315A7}">
      <dgm:prSet/>
      <dgm:spPr/>
      <dgm:t>
        <a:bodyPr/>
        <a:lstStyle/>
        <a:p>
          <a:endParaRPr lang="zh-CN" altLang="en-US"/>
        </a:p>
      </dgm:t>
    </dgm:pt>
    <dgm:pt modelId="{C40DF02D-5F0E-40C3-887F-102A4185FECA}">
      <dgm:prSet phldrT="[文本]"/>
      <dgm:spPr/>
      <dgm:t>
        <a:bodyPr/>
        <a:lstStyle/>
        <a:p>
          <a:r>
            <a:rPr lang="zh-CN" altLang="en-US" dirty="0" smtClean="0"/>
            <a:t>多种图表</a:t>
          </a:r>
          <a:endParaRPr lang="en-US" altLang="zh-CN" dirty="0" smtClean="0"/>
        </a:p>
      </dgm:t>
    </dgm:pt>
    <dgm:pt modelId="{0FEE7155-0029-4D6D-9C04-DC5AAA773710}" type="parTrans" cxnId="{11383EB5-89E2-4C2D-9C67-7C8EA67B52CA}">
      <dgm:prSet/>
      <dgm:spPr/>
      <dgm:t>
        <a:bodyPr/>
        <a:lstStyle/>
        <a:p>
          <a:endParaRPr lang="zh-CN" altLang="en-US"/>
        </a:p>
      </dgm:t>
    </dgm:pt>
    <dgm:pt modelId="{6CB2A4A9-B2A3-416A-857C-1FA1F106985B}" type="sibTrans" cxnId="{11383EB5-89E2-4C2D-9C67-7C8EA67B52CA}">
      <dgm:prSet/>
      <dgm:spPr/>
      <dgm:t>
        <a:bodyPr/>
        <a:lstStyle/>
        <a:p>
          <a:endParaRPr lang="zh-CN" altLang="en-US"/>
        </a:p>
      </dgm:t>
    </dgm:pt>
    <dgm:pt modelId="{20414B1A-5A3C-4358-BFC0-D1A37AE7FA89}">
      <dgm:prSet phldrT="[文本]"/>
      <dgm:spPr/>
      <dgm:t>
        <a:bodyPr/>
        <a:lstStyle/>
        <a:p>
          <a:r>
            <a:rPr lang="zh-CN" altLang="en-US" dirty="0" smtClean="0"/>
            <a:t>导出</a:t>
          </a:r>
          <a:r>
            <a:rPr lang="en-US" altLang="zh-CN" dirty="0" smtClean="0"/>
            <a:t>Excel</a:t>
          </a:r>
          <a:r>
            <a:rPr lang="zh-CN" altLang="en-US" dirty="0" smtClean="0"/>
            <a:t>，</a:t>
          </a:r>
          <a:r>
            <a:rPr lang="en-US" altLang="zh-CN" dirty="0" smtClean="0"/>
            <a:t>Word</a:t>
          </a:r>
          <a:r>
            <a:rPr lang="zh-CN" altLang="en-US" dirty="0" smtClean="0"/>
            <a:t>，</a:t>
          </a:r>
          <a:r>
            <a:rPr lang="en-US" altLang="zh-CN" dirty="0" smtClean="0"/>
            <a:t>PDF</a:t>
          </a:r>
        </a:p>
      </dgm:t>
    </dgm:pt>
    <dgm:pt modelId="{92BCDCC8-0996-4324-87B1-47512CCF12C3}" type="parTrans" cxnId="{A03EB59D-08A4-410B-A562-65C2FEF01D93}">
      <dgm:prSet/>
      <dgm:spPr/>
      <dgm:t>
        <a:bodyPr/>
        <a:lstStyle/>
        <a:p>
          <a:endParaRPr lang="zh-CN" altLang="en-US"/>
        </a:p>
      </dgm:t>
    </dgm:pt>
    <dgm:pt modelId="{742F9870-096D-42FB-BEC2-CF73860F5E6A}" type="sibTrans" cxnId="{A03EB59D-08A4-410B-A562-65C2FEF01D93}">
      <dgm:prSet/>
      <dgm:spPr/>
      <dgm:t>
        <a:bodyPr/>
        <a:lstStyle/>
        <a:p>
          <a:endParaRPr lang="zh-CN" altLang="en-US"/>
        </a:p>
      </dgm:t>
    </dgm:pt>
    <dgm:pt modelId="{BF05F783-7EF7-4A67-9AD1-EA32413F53EA}" type="pres">
      <dgm:prSet presAssocID="{E4C54A3A-01A4-403D-BBFD-88978E00ECE9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zh-CN" altLang="en-US"/>
        </a:p>
      </dgm:t>
    </dgm:pt>
    <dgm:pt modelId="{A256EB12-76D1-42DE-8E12-2AE69E712842}" type="pres">
      <dgm:prSet presAssocID="{E4C54A3A-01A4-403D-BBFD-88978E00ECE9}" presName="Name1" presStyleCnt="0"/>
      <dgm:spPr/>
    </dgm:pt>
    <dgm:pt modelId="{99164A8C-70E9-41C2-8877-43FCC99E0DED}" type="pres">
      <dgm:prSet presAssocID="{E4C54A3A-01A4-403D-BBFD-88978E00ECE9}" presName="cycle" presStyleCnt="0"/>
      <dgm:spPr/>
    </dgm:pt>
    <dgm:pt modelId="{999AAF1F-BA1F-4F34-A746-4EE7FFFF7682}" type="pres">
      <dgm:prSet presAssocID="{E4C54A3A-01A4-403D-BBFD-88978E00ECE9}" presName="srcNode" presStyleLbl="node1" presStyleIdx="0" presStyleCnt="4"/>
      <dgm:spPr/>
    </dgm:pt>
    <dgm:pt modelId="{CA73443D-70FA-4B0C-A09E-ACCCC550A445}" type="pres">
      <dgm:prSet presAssocID="{E4C54A3A-01A4-403D-BBFD-88978E00ECE9}" presName="conn" presStyleLbl="parChTrans1D2" presStyleIdx="0" presStyleCnt="1"/>
      <dgm:spPr/>
      <dgm:t>
        <a:bodyPr/>
        <a:lstStyle/>
        <a:p>
          <a:endParaRPr lang="zh-CN" altLang="en-US"/>
        </a:p>
      </dgm:t>
    </dgm:pt>
    <dgm:pt modelId="{783BA4BD-CEEF-4020-AF2D-68DCD9F692F9}" type="pres">
      <dgm:prSet presAssocID="{E4C54A3A-01A4-403D-BBFD-88978E00ECE9}" presName="extraNode" presStyleLbl="node1" presStyleIdx="0" presStyleCnt="4"/>
      <dgm:spPr/>
    </dgm:pt>
    <dgm:pt modelId="{B2352D0A-9A3B-4ED2-AA2D-23F7434AE8FC}" type="pres">
      <dgm:prSet presAssocID="{E4C54A3A-01A4-403D-BBFD-88978E00ECE9}" presName="dstNode" presStyleLbl="node1" presStyleIdx="0" presStyleCnt="4"/>
      <dgm:spPr/>
    </dgm:pt>
    <dgm:pt modelId="{6C0144F2-7F2D-421D-ACBA-9BEECDE6A528}" type="pres">
      <dgm:prSet presAssocID="{FAA4D6B7-D6F2-4790-86D9-7B6668377FC3}" presName="text_1" presStyleLbl="node1" presStyleIdx="0" presStyleCnt="4" custLinFactNeighborX="700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4E234D0-CE33-47AD-B5D6-2614DA66FE5B}" type="pres">
      <dgm:prSet presAssocID="{FAA4D6B7-D6F2-4790-86D9-7B6668377FC3}" presName="accent_1" presStyleCnt="0"/>
      <dgm:spPr/>
    </dgm:pt>
    <dgm:pt modelId="{888BBB49-8943-4ED5-B333-B4914415F92D}" type="pres">
      <dgm:prSet presAssocID="{FAA4D6B7-D6F2-4790-86D9-7B6668377FC3}" presName="accentRepeatNode" presStyleLbl="solidFgAcc1" presStyleIdx="0" presStyleCnt="4"/>
      <dgm:spPr/>
    </dgm:pt>
    <dgm:pt modelId="{ACFCB583-EEE7-40F7-8A8E-60D9DCB0FF1D}" type="pres">
      <dgm:prSet presAssocID="{F942790F-A549-4D4B-97A8-DCDA67C74A5A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87606B5-645D-478C-B7AB-2D740536A04D}" type="pres">
      <dgm:prSet presAssocID="{F942790F-A549-4D4B-97A8-DCDA67C74A5A}" presName="accent_2" presStyleCnt="0"/>
      <dgm:spPr/>
    </dgm:pt>
    <dgm:pt modelId="{F19EA25E-DD85-4F46-A083-4DAC22B5C599}" type="pres">
      <dgm:prSet presAssocID="{F942790F-A549-4D4B-97A8-DCDA67C74A5A}" presName="accentRepeatNode" presStyleLbl="solidFgAcc1" presStyleIdx="1" presStyleCnt="4"/>
      <dgm:spPr/>
    </dgm:pt>
    <dgm:pt modelId="{86EA38BA-18EA-4D38-9B48-004B44EB18CC}" type="pres">
      <dgm:prSet presAssocID="{C40DF02D-5F0E-40C3-887F-102A4185FECA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9C3341E-517D-4229-8F3F-E0789DFC7895}" type="pres">
      <dgm:prSet presAssocID="{C40DF02D-5F0E-40C3-887F-102A4185FECA}" presName="accent_3" presStyleCnt="0"/>
      <dgm:spPr/>
    </dgm:pt>
    <dgm:pt modelId="{E82E1A8C-7572-435E-8033-D961CABDD776}" type="pres">
      <dgm:prSet presAssocID="{C40DF02D-5F0E-40C3-887F-102A4185FECA}" presName="accentRepeatNode" presStyleLbl="solidFgAcc1" presStyleIdx="2" presStyleCnt="4"/>
      <dgm:spPr/>
    </dgm:pt>
    <dgm:pt modelId="{86BC2976-4601-4C84-AC20-5FB94D45552F}" type="pres">
      <dgm:prSet presAssocID="{20414B1A-5A3C-4358-BFC0-D1A37AE7FA89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1970D38-DE15-4A15-9E93-0D372532976C}" type="pres">
      <dgm:prSet presAssocID="{20414B1A-5A3C-4358-BFC0-D1A37AE7FA89}" presName="accent_4" presStyleCnt="0"/>
      <dgm:spPr/>
    </dgm:pt>
    <dgm:pt modelId="{D9EF4702-ECBB-47A9-82C1-A95080501679}" type="pres">
      <dgm:prSet presAssocID="{20414B1A-5A3C-4358-BFC0-D1A37AE7FA89}" presName="accentRepeatNode" presStyleLbl="solidFgAcc1" presStyleIdx="3" presStyleCnt="4"/>
      <dgm:spPr/>
    </dgm:pt>
  </dgm:ptLst>
  <dgm:cxnLst>
    <dgm:cxn modelId="{186A9A17-51B2-4499-8FE8-367E69B18652}" type="presOf" srcId="{C40DF02D-5F0E-40C3-887F-102A4185FECA}" destId="{86EA38BA-18EA-4D38-9B48-004B44EB18CC}" srcOrd="0" destOrd="0" presId="urn:microsoft.com/office/officeart/2008/layout/VerticalCurvedList"/>
    <dgm:cxn modelId="{4531A683-9BEB-474D-B9CF-6EB52A16DA70}" srcId="{E4C54A3A-01A4-403D-BBFD-88978E00ECE9}" destId="{FAA4D6B7-D6F2-4790-86D9-7B6668377FC3}" srcOrd="0" destOrd="0" parTransId="{AD7CE3BB-D8AB-42D0-9024-C7980F0A4453}" sibTransId="{9E9B07DB-F8C8-4585-B7AA-964D29191CC3}"/>
    <dgm:cxn modelId="{C6475E1F-BF35-4762-8959-09D91690751D}" type="presOf" srcId="{FAA4D6B7-D6F2-4790-86D9-7B6668377FC3}" destId="{6C0144F2-7F2D-421D-ACBA-9BEECDE6A528}" srcOrd="0" destOrd="0" presId="urn:microsoft.com/office/officeart/2008/layout/VerticalCurvedList"/>
    <dgm:cxn modelId="{0868E8F3-8C06-4CA3-847D-56A8266BA844}" type="presOf" srcId="{E4C54A3A-01A4-403D-BBFD-88978E00ECE9}" destId="{BF05F783-7EF7-4A67-9AD1-EA32413F53EA}" srcOrd="0" destOrd="0" presId="urn:microsoft.com/office/officeart/2008/layout/VerticalCurvedList"/>
    <dgm:cxn modelId="{30ECD4DA-418E-4E55-AFC5-56D6886C727D}" type="presOf" srcId="{20414B1A-5A3C-4358-BFC0-D1A37AE7FA89}" destId="{86BC2976-4601-4C84-AC20-5FB94D45552F}" srcOrd="0" destOrd="0" presId="urn:microsoft.com/office/officeart/2008/layout/VerticalCurvedList"/>
    <dgm:cxn modelId="{195DBEE5-447F-4E82-BDA0-0F5D97C6E71C}" type="presOf" srcId="{9E9B07DB-F8C8-4585-B7AA-964D29191CC3}" destId="{CA73443D-70FA-4B0C-A09E-ACCCC550A445}" srcOrd="0" destOrd="0" presId="urn:microsoft.com/office/officeart/2008/layout/VerticalCurvedList"/>
    <dgm:cxn modelId="{2CF4CD87-1F48-457F-B451-8ADB8A9315A7}" srcId="{E4C54A3A-01A4-403D-BBFD-88978E00ECE9}" destId="{F942790F-A549-4D4B-97A8-DCDA67C74A5A}" srcOrd="1" destOrd="0" parTransId="{8C2B84B7-BCA4-469B-B0DD-02E0DC1A8BFE}" sibTransId="{5F8E5B31-220D-4F2D-97B8-008E92F6797F}"/>
    <dgm:cxn modelId="{A03EB59D-08A4-410B-A562-65C2FEF01D93}" srcId="{E4C54A3A-01A4-403D-BBFD-88978E00ECE9}" destId="{20414B1A-5A3C-4358-BFC0-D1A37AE7FA89}" srcOrd="3" destOrd="0" parTransId="{92BCDCC8-0996-4324-87B1-47512CCF12C3}" sibTransId="{742F9870-096D-42FB-BEC2-CF73860F5E6A}"/>
    <dgm:cxn modelId="{11383EB5-89E2-4C2D-9C67-7C8EA67B52CA}" srcId="{E4C54A3A-01A4-403D-BBFD-88978E00ECE9}" destId="{C40DF02D-5F0E-40C3-887F-102A4185FECA}" srcOrd="2" destOrd="0" parTransId="{0FEE7155-0029-4D6D-9C04-DC5AAA773710}" sibTransId="{6CB2A4A9-B2A3-416A-857C-1FA1F106985B}"/>
    <dgm:cxn modelId="{C5513DBE-1660-409C-8164-75B74432904C}" type="presOf" srcId="{F942790F-A549-4D4B-97A8-DCDA67C74A5A}" destId="{ACFCB583-EEE7-40F7-8A8E-60D9DCB0FF1D}" srcOrd="0" destOrd="0" presId="urn:microsoft.com/office/officeart/2008/layout/VerticalCurvedList"/>
    <dgm:cxn modelId="{7CEF75C6-4E3F-493A-9DDB-314254809B41}" type="presParOf" srcId="{BF05F783-7EF7-4A67-9AD1-EA32413F53EA}" destId="{A256EB12-76D1-42DE-8E12-2AE69E712842}" srcOrd="0" destOrd="0" presId="urn:microsoft.com/office/officeart/2008/layout/VerticalCurvedList"/>
    <dgm:cxn modelId="{A8F7E835-47CF-4A1E-AEF5-3DD09B761F70}" type="presParOf" srcId="{A256EB12-76D1-42DE-8E12-2AE69E712842}" destId="{99164A8C-70E9-41C2-8877-43FCC99E0DED}" srcOrd="0" destOrd="0" presId="urn:microsoft.com/office/officeart/2008/layout/VerticalCurvedList"/>
    <dgm:cxn modelId="{F84C6F43-16B2-43C9-9442-EE4F86EC7EAA}" type="presParOf" srcId="{99164A8C-70E9-41C2-8877-43FCC99E0DED}" destId="{999AAF1F-BA1F-4F34-A746-4EE7FFFF7682}" srcOrd="0" destOrd="0" presId="urn:microsoft.com/office/officeart/2008/layout/VerticalCurvedList"/>
    <dgm:cxn modelId="{05FB784B-EF04-4A1B-9B71-4AE0254ADCEF}" type="presParOf" srcId="{99164A8C-70E9-41C2-8877-43FCC99E0DED}" destId="{CA73443D-70FA-4B0C-A09E-ACCCC550A445}" srcOrd="1" destOrd="0" presId="urn:microsoft.com/office/officeart/2008/layout/VerticalCurvedList"/>
    <dgm:cxn modelId="{9E355C0E-7FF5-4517-A180-DCC70F1F8108}" type="presParOf" srcId="{99164A8C-70E9-41C2-8877-43FCC99E0DED}" destId="{783BA4BD-CEEF-4020-AF2D-68DCD9F692F9}" srcOrd="2" destOrd="0" presId="urn:microsoft.com/office/officeart/2008/layout/VerticalCurvedList"/>
    <dgm:cxn modelId="{DC2AAED8-757E-4404-9420-17BDD8D3DAAE}" type="presParOf" srcId="{99164A8C-70E9-41C2-8877-43FCC99E0DED}" destId="{B2352D0A-9A3B-4ED2-AA2D-23F7434AE8FC}" srcOrd="3" destOrd="0" presId="urn:microsoft.com/office/officeart/2008/layout/VerticalCurvedList"/>
    <dgm:cxn modelId="{4508ADCD-C3AA-4737-8C23-D00B5D060230}" type="presParOf" srcId="{A256EB12-76D1-42DE-8E12-2AE69E712842}" destId="{6C0144F2-7F2D-421D-ACBA-9BEECDE6A528}" srcOrd="1" destOrd="0" presId="urn:microsoft.com/office/officeart/2008/layout/VerticalCurvedList"/>
    <dgm:cxn modelId="{886828DC-E303-4D24-8B18-7C3CB00AFD9B}" type="presParOf" srcId="{A256EB12-76D1-42DE-8E12-2AE69E712842}" destId="{A4E234D0-CE33-47AD-B5D6-2614DA66FE5B}" srcOrd="2" destOrd="0" presId="urn:microsoft.com/office/officeart/2008/layout/VerticalCurvedList"/>
    <dgm:cxn modelId="{82FA9C8A-CD15-496F-A578-F301F6C1D2A3}" type="presParOf" srcId="{A4E234D0-CE33-47AD-B5D6-2614DA66FE5B}" destId="{888BBB49-8943-4ED5-B333-B4914415F92D}" srcOrd="0" destOrd="0" presId="urn:microsoft.com/office/officeart/2008/layout/VerticalCurvedList"/>
    <dgm:cxn modelId="{903707BE-F2F8-40AE-B380-0061EEDDD5EB}" type="presParOf" srcId="{A256EB12-76D1-42DE-8E12-2AE69E712842}" destId="{ACFCB583-EEE7-40F7-8A8E-60D9DCB0FF1D}" srcOrd="3" destOrd="0" presId="urn:microsoft.com/office/officeart/2008/layout/VerticalCurvedList"/>
    <dgm:cxn modelId="{60C51D22-FE18-4341-BF9D-1E9C10E8CBB7}" type="presParOf" srcId="{A256EB12-76D1-42DE-8E12-2AE69E712842}" destId="{B87606B5-645D-478C-B7AB-2D740536A04D}" srcOrd="4" destOrd="0" presId="urn:microsoft.com/office/officeart/2008/layout/VerticalCurvedList"/>
    <dgm:cxn modelId="{265021C1-5430-492A-858D-E14DE58D49E1}" type="presParOf" srcId="{B87606B5-645D-478C-B7AB-2D740536A04D}" destId="{F19EA25E-DD85-4F46-A083-4DAC22B5C599}" srcOrd="0" destOrd="0" presId="urn:microsoft.com/office/officeart/2008/layout/VerticalCurvedList"/>
    <dgm:cxn modelId="{B2B02F50-588F-46A6-B3E8-0DBF81E6FD86}" type="presParOf" srcId="{A256EB12-76D1-42DE-8E12-2AE69E712842}" destId="{86EA38BA-18EA-4D38-9B48-004B44EB18CC}" srcOrd="5" destOrd="0" presId="urn:microsoft.com/office/officeart/2008/layout/VerticalCurvedList"/>
    <dgm:cxn modelId="{30792EF4-56F1-47B5-A23D-28E4AFBF63F3}" type="presParOf" srcId="{A256EB12-76D1-42DE-8E12-2AE69E712842}" destId="{D9C3341E-517D-4229-8F3F-E0789DFC7895}" srcOrd="6" destOrd="0" presId="urn:microsoft.com/office/officeart/2008/layout/VerticalCurvedList"/>
    <dgm:cxn modelId="{67E001D8-BA93-4D00-A8E6-F1B34509898E}" type="presParOf" srcId="{D9C3341E-517D-4229-8F3F-E0789DFC7895}" destId="{E82E1A8C-7572-435E-8033-D961CABDD776}" srcOrd="0" destOrd="0" presId="urn:microsoft.com/office/officeart/2008/layout/VerticalCurvedList"/>
    <dgm:cxn modelId="{927ABAF5-8313-4127-A69E-9788011DF32F}" type="presParOf" srcId="{A256EB12-76D1-42DE-8E12-2AE69E712842}" destId="{86BC2976-4601-4C84-AC20-5FB94D45552F}" srcOrd="7" destOrd="0" presId="urn:microsoft.com/office/officeart/2008/layout/VerticalCurvedList"/>
    <dgm:cxn modelId="{C92AD928-9718-4007-9DBE-A7FFBDD6F551}" type="presParOf" srcId="{A256EB12-76D1-42DE-8E12-2AE69E712842}" destId="{D1970D38-DE15-4A15-9E93-0D372532976C}" srcOrd="8" destOrd="0" presId="urn:microsoft.com/office/officeart/2008/layout/VerticalCurvedList"/>
    <dgm:cxn modelId="{EE00AEC6-28C5-4F46-A05F-DC6E9BA6CAFF}" type="presParOf" srcId="{D1970D38-DE15-4A15-9E93-0D372532976C}" destId="{D9EF4702-ECBB-47A9-82C1-A95080501679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E4C54A3A-01A4-403D-BBFD-88978E00ECE9}" type="doc">
      <dgm:prSet loTypeId="urn:microsoft.com/office/officeart/2005/8/layout/vList4#2" loCatId="list" qsTypeId="urn:microsoft.com/office/officeart/2005/8/quickstyle/3d2" qsCatId="3D" csTypeId="urn:microsoft.com/office/officeart/2005/8/colors/colorful3" csCatId="colorful" phldr="1"/>
      <dgm:spPr/>
      <dgm:t>
        <a:bodyPr/>
        <a:lstStyle/>
        <a:p>
          <a:endParaRPr lang="zh-CN" altLang="en-US"/>
        </a:p>
      </dgm:t>
    </dgm:pt>
    <dgm:pt modelId="{FAA4D6B7-D6F2-4790-86D9-7B6668377FC3}">
      <dgm:prSet phldrT="[文本]"/>
      <dgm:spPr/>
      <dgm:t>
        <a:bodyPr/>
        <a:lstStyle/>
        <a:p>
          <a:r>
            <a:rPr lang="zh-CN" altLang="en-US" dirty="0" smtClean="0"/>
            <a:t>查询参数长度不限</a:t>
          </a:r>
          <a:endParaRPr lang="zh-CN" altLang="en-US" dirty="0"/>
        </a:p>
      </dgm:t>
    </dgm:pt>
    <dgm:pt modelId="{AD7CE3BB-D8AB-42D0-9024-C7980F0A4453}" type="parTrans" cxnId="{4531A683-9BEB-474D-B9CF-6EB52A16DA70}">
      <dgm:prSet/>
      <dgm:spPr/>
      <dgm:t>
        <a:bodyPr/>
        <a:lstStyle/>
        <a:p>
          <a:endParaRPr lang="zh-CN" altLang="en-US"/>
        </a:p>
      </dgm:t>
    </dgm:pt>
    <dgm:pt modelId="{9E9B07DB-F8C8-4585-B7AA-964D29191CC3}" type="sibTrans" cxnId="{4531A683-9BEB-474D-B9CF-6EB52A16DA70}">
      <dgm:prSet/>
      <dgm:spPr/>
      <dgm:t>
        <a:bodyPr/>
        <a:lstStyle/>
        <a:p>
          <a:endParaRPr lang="zh-CN" altLang="en-US"/>
        </a:p>
      </dgm:t>
    </dgm:pt>
    <dgm:pt modelId="{F942790F-A549-4D4B-97A8-DCDA67C74A5A}">
      <dgm:prSet phldrT="[文本]"/>
      <dgm:spPr/>
      <dgm:t>
        <a:bodyPr/>
        <a:lstStyle/>
        <a:p>
          <a:r>
            <a:rPr lang="en-US" altLang="zh-CN" dirty="0" smtClean="0"/>
            <a:t>IE</a:t>
          </a:r>
          <a:r>
            <a:rPr lang="zh-CN" altLang="en-US" dirty="0" smtClean="0"/>
            <a:t>没有弹出阻止</a:t>
          </a:r>
          <a:endParaRPr lang="zh-CN" altLang="en-US" dirty="0"/>
        </a:p>
      </dgm:t>
    </dgm:pt>
    <dgm:pt modelId="{8C2B84B7-BCA4-469B-B0DD-02E0DC1A8BFE}" type="parTrans" cxnId="{2CF4CD87-1F48-457F-B451-8ADB8A9315A7}">
      <dgm:prSet/>
      <dgm:spPr/>
      <dgm:t>
        <a:bodyPr/>
        <a:lstStyle/>
        <a:p>
          <a:endParaRPr lang="zh-CN" altLang="en-US"/>
        </a:p>
      </dgm:t>
    </dgm:pt>
    <dgm:pt modelId="{5F8E5B31-220D-4F2D-97B8-008E92F6797F}" type="sibTrans" cxnId="{2CF4CD87-1F48-457F-B451-8ADB8A9315A7}">
      <dgm:prSet/>
      <dgm:spPr/>
      <dgm:t>
        <a:bodyPr/>
        <a:lstStyle/>
        <a:p>
          <a:endParaRPr lang="zh-CN" altLang="en-US"/>
        </a:p>
      </dgm:t>
    </dgm:pt>
    <dgm:pt modelId="{C40DF02D-5F0E-40C3-887F-102A4185FECA}">
      <dgm:prSet phldrT="[文本]"/>
      <dgm:spPr/>
      <dgm:t>
        <a:bodyPr/>
        <a:lstStyle/>
        <a:p>
          <a:r>
            <a:rPr lang="zh-CN" altLang="en-US" dirty="0" smtClean="0"/>
            <a:t>实现标准，简单</a:t>
          </a:r>
          <a:endParaRPr lang="zh-CN" altLang="en-US" dirty="0"/>
        </a:p>
      </dgm:t>
    </dgm:pt>
    <dgm:pt modelId="{0FEE7155-0029-4D6D-9C04-DC5AAA773710}" type="parTrans" cxnId="{11383EB5-89E2-4C2D-9C67-7C8EA67B52CA}">
      <dgm:prSet/>
      <dgm:spPr/>
      <dgm:t>
        <a:bodyPr/>
        <a:lstStyle/>
        <a:p>
          <a:endParaRPr lang="zh-CN" altLang="en-US"/>
        </a:p>
      </dgm:t>
    </dgm:pt>
    <dgm:pt modelId="{6CB2A4A9-B2A3-416A-857C-1FA1F106985B}" type="sibTrans" cxnId="{11383EB5-89E2-4C2D-9C67-7C8EA67B52CA}">
      <dgm:prSet/>
      <dgm:spPr/>
      <dgm:t>
        <a:bodyPr/>
        <a:lstStyle/>
        <a:p>
          <a:endParaRPr lang="zh-CN" altLang="en-US"/>
        </a:p>
      </dgm:t>
    </dgm:pt>
    <dgm:pt modelId="{0C0FD134-7314-419D-AEAA-59064230123A}" type="pres">
      <dgm:prSet presAssocID="{E4C54A3A-01A4-403D-BBFD-88978E00ECE9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CEC88A05-B4AA-47DB-A8A3-53283676B88A}" type="pres">
      <dgm:prSet presAssocID="{FAA4D6B7-D6F2-4790-86D9-7B6668377FC3}" presName="comp" presStyleCnt="0"/>
      <dgm:spPr/>
    </dgm:pt>
    <dgm:pt modelId="{593EC09D-9794-43AE-8BED-EACAB00E8F6C}" type="pres">
      <dgm:prSet presAssocID="{FAA4D6B7-D6F2-4790-86D9-7B6668377FC3}" presName="box" presStyleLbl="node1" presStyleIdx="0" presStyleCnt="3"/>
      <dgm:spPr/>
      <dgm:t>
        <a:bodyPr/>
        <a:lstStyle/>
        <a:p>
          <a:endParaRPr lang="zh-CN" altLang="en-US"/>
        </a:p>
      </dgm:t>
    </dgm:pt>
    <dgm:pt modelId="{13688BDA-D286-4770-BE20-9427E1D6B339}" type="pres">
      <dgm:prSet presAssocID="{FAA4D6B7-D6F2-4790-86D9-7B6668377FC3}" presName="img" presStyleLbl="fgImgPlace1" presStyleIdx="0" presStyleCnt="3" custScaleX="76566"/>
      <dgm:spPr/>
    </dgm:pt>
    <dgm:pt modelId="{B222A8AA-EB42-4FBC-8236-C2E59AA0F727}" type="pres">
      <dgm:prSet presAssocID="{FAA4D6B7-D6F2-4790-86D9-7B6668377FC3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0A5E26F-AE63-45E4-A31C-A902FCBC3FE7}" type="pres">
      <dgm:prSet presAssocID="{9E9B07DB-F8C8-4585-B7AA-964D29191CC3}" presName="spacer" presStyleCnt="0"/>
      <dgm:spPr/>
    </dgm:pt>
    <dgm:pt modelId="{91B8B45E-62D8-4A62-9284-DB42A145CE05}" type="pres">
      <dgm:prSet presAssocID="{F942790F-A549-4D4B-97A8-DCDA67C74A5A}" presName="comp" presStyleCnt="0"/>
      <dgm:spPr/>
    </dgm:pt>
    <dgm:pt modelId="{C7D3381C-0657-4F7A-96E9-75A66D4E6CD1}" type="pres">
      <dgm:prSet presAssocID="{F942790F-A549-4D4B-97A8-DCDA67C74A5A}" presName="box" presStyleLbl="node1" presStyleIdx="1" presStyleCnt="3"/>
      <dgm:spPr/>
      <dgm:t>
        <a:bodyPr/>
        <a:lstStyle/>
        <a:p>
          <a:endParaRPr lang="zh-CN" altLang="en-US"/>
        </a:p>
      </dgm:t>
    </dgm:pt>
    <dgm:pt modelId="{6288F01F-C924-4037-8B37-0F3F0187A128}" type="pres">
      <dgm:prSet presAssocID="{F942790F-A549-4D4B-97A8-DCDA67C74A5A}" presName="img" presStyleLbl="fgImgPlace1" presStyleIdx="1" presStyleCnt="3" custScaleX="74023"/>
      <dgm:spPr/>
    </dgm:pt>
    <dgm:pt modelId="{8B6AB3E1-0CE6-4484-975D-93B3BB64B731}" type="pres">
      <dgm:prSet presAssocID="{F942790F-A549-4D4B-97A8-DCDA67C74A5A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F226F25-893A-43D9-BCB0-E2FCC2A35C2C}" type="pres">
      <dgm:prSet presAssocID="{5F8E5B31-220D-4F2D-97B8-008E92F6797F}" presName="spacer" presStyleCnt="0"/>
      <dgm:spPr/>
    </dgm:pt>
    <dgm:pt modelId="{3CA7A233-6722-431B-80DD-9151263B9BAD}" type="pres">
      <dgm:prSet presAssocID="{C40DF02D-5F0E-40C3-887F-102A4185FECA}" presName="comp" presStyleCnt="0"/>
      <dgm:spPr/>
    </dgm:pt>
    <dgm:pt modelId="{D2693B5D-E925-4815-B608-C4FA9755DF1F}" type="pres">
      <dgm:prSet presAssocID="{C40DF02D-5F0E-40C3-887F-102A4185FECA}" presName="box" presStyleLbl="node1" presStyleIdx="2" presStyleCnt="3"/>
      <dgm:spPr/>
      <dgm:t>
        <a:bodyPr/>
        <a:lstStyle/>
        <a:p>
          <a:endParaRPr lang="zh-CN" altLang="en-US"/>
        </a:p>
      </dgm:t>
    </dgm:pt>
    <dgm:pt modelId="{C42E9402-A0F4-4550-A50B-0EC4A0A313F3}" type="pres">
      <dgm:prSet presAssocID="{C40DF02D-5F0E-40C3-887F-102A4185FECA}" presName="img" presStyleLbl="fgImgPlace1" presStyleIdx="2" presStyleCnt="3" custScaleX="76835"/>
      <dgm:spPr/>
    </dgm:pt>
    <dgm:pt modelId="{BAA19BE6-6B62-4A45-81C2-47424EC35079}" type="pres">
      <dgm:prSet presAssocID="{C40DF02D-5F0E-40C3-887F-102A4185FECA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4531A683-9BEB-474D-B9CF-6EB52A16DA70}" srcId="{E4C54A3A-01A4-403D-BBFD-88978E00ECE9}" destId="{FAA4D6B7-D6F2-4790-86D9-7B6668377FC3}" srcOrd="0" destOrd="0" parTransId="{AD7CE3BB-D8AB-42D0-9024-C7980F0A4453}" sibTransId="{9E9B07DB-F8C8-4585-B7AA-964D29191CC3}"/>
    <dgm:cxn modelId="{FF0167FA-1FC5-4259-9D4C-C9EB03B8CCCF}" type="presOf" srcId="{FAA4D6B7-D6F2-4790-86D9-7B6668377FC3}" destId="{B222A8AA-EB42-4FBC-8236-C2E59AA0F727}" srcOrd="1" destOrd="0" presId="urn:microsoft.com/office/officeart/2005/8/layout/vList4#2"/>
    <dgm:cxn modelId="{4A89103B-4127-4711-95E2-F05B4AF0825E}" type="presOf" srcId="{E4C54A3A-01A4-403D-BBFD-88978E00ECE9}" destId="{0C0FD134-7314-419D-AEAA-59064230123A}" srcOrd="0" destOrd="0" presId="urn:microsoft.com/office/officeart/2005/8/layout/vList4#2"/>
    <dgm:cxn modelId="{1B6CFB83-D97B-4BD3-8127-8714CD6BC957}" type="presOf" srcId="{F942790F-A549-4D4B-97A8-DCDA67C74A5A}" destId="{8B6AB3E1-0CE6-4484-975D-93B3BB64B731}" srcOrd="1" destOrd="0" presId="urn:microsoft.com/office/officeart/2005/8/layout/vList4#2"/>
    <dgm:cxn modelId="{3D95887C-7566-496E-8DCE-B6BFD0723BA0}" type="presOf" srcId="{FAA4D6B7-D6F2-4790-86D9-7B6668377FC3}" destId="{593EC09D-9794-43AE-8BED-EACAB00E8F6C}" srcOrd="0" destOrd="0" presId="urn:microsoft.com/office/officeart/2005/8/layout/vList4#2"/>
    <dgm:cxn modelId="{CCAAF113-CA9D-4A2A-8251-9768DC99AE47}" type="presOf" srcId="{C40DF02D-5F0E-40C3-887F-102A4185FECA}" destId="{BAA19BE6-6B62-4A45-81C2-47424EC35079}" srcOrd="1" destOrd="0" presId="urn:microsoft.com/office/officeart/2005/8/layout/vList4#2"/>
    <dgm:cxn modelId="{DB3309E3-8C10-44A4-897F-41B23BEE9EC7}" type="presOf" srcId="{C40DF02D-5F0E-40C3-887F-102A4185FECA}" destId="{D2693B5D-E925-4815-B608-C4FA9755DF1F}" srcOrd="0" destOrd="0" presId="urn:microsoft.com/office/officeart/2005/8/layout/vList4#2"/>
    <dgm:cxn modelId="{2CF4CD87-1F48-457F-B451-8ADB8A9315A7}" srcId="{E4C54A3A-01A4-403D-BBFD-88978E00ECE9}" destId="{F942790F-A549-4D4B-97A8-DCDA67C74A5A}" srcOrd="1" destOrd="0" parTransId="{8C2B84B7-BCA4-469B-B0DD-02E0DC1A8BFE}" sibTransId="{5F8E5B31-220D-4F2D-97B8-008E92F6797F}"/>
    <dgm:cxn modelId="{495AD6BA-F99D-4BE5-9DCA-F614721D1A48}" type="presOf" srcId="{F942790F-A549-4D4B-97A8-DCDA67C74A5A}" destId="{C7D3381C-0657-4F7A-96E9-75A66D4E6CD1}" srcOrd="0" destOrd="0" presId="urn:microsoft.com/office/officeart/2005/8/layout/vList4#2"/>
    <dgm:cxn modelId="{11383EB5-89E2-4C2D-9C67-7C8EA67B52CA}" srcId="{E4C54A3A-01A4-403D-BBFD-88978E00ECE9}" destId="{C40DF02D-5F0E-40C3-887F-102A4185FECA}" srcOrd="2" destOrd="0" parTransId="{0FEE7155-0029-4D6D-9C04-DC5AAA773710}" sibTransId="{6CB2A4A9-B2A3-416A-857C-1FA1F106985B}"/>
    <dgm:cxn modelId="{28E4DAC4-DE34-4ECE-A399-8BBDAB24E7BF}" type="presParOf" srcId="{0C0FD134-7314-419D-AEAA-59064230123A}" destId="{CEC88A05-B4AA-47DB-A8A3-53283676B88A}" srcOrd="0" destOrd="0" presId="urn:microsoft.com/office/officeart/2005/8/layout/vList4#2"/>
    <dgm:cxn modelId="{79CFB0C7-7A36-4DA0-91F9-3541D3A1878B}" type="presParOf" srcId="{CEC88A05-B4AA-47DB-A8A3-53283676B88A}" destId="{593EC09D-9794-43AE-8BED-EACAB00E8F6C}" srcOrd="0" destOrd="0" presId="urn:microsoft.com/office/officeart/2005/8/layout/vList4#2"/>
    <dgm:cxn modelId="{E88B73F7-0B2F-4C94-8C4F-D432140B8F0F}" type="presParOf" srcId="{CEC88A05-B4AA-47DB-A8A3-53283676B88A}" destId="{13688BDA-D286-4770-BE20-9427E1D6B339}" srcOrd="1" destOrd="0" presId="urn:microsoft.com/office/officeart/2005/8/layout/vList4#2"/>
    <dgm:cxn modelId="{8F260343-1097-42B8-A78C-020167FCC19F}" type="presParOf" srcId="{CEC88A05-B4AA-47DB-A8A3-53283676B88A}" destId="{B222A8AA-EB42-4FBC-8236-C2E59AA0F727}" srcOrd="2" destOrd="0" presId="urn:microsoft.com/office/officeart/2005/8/layout/vList4#2"/>
    <dgm:cxn modelId="{C8FA1C62-7C72-41D2-B920-9543A88C643B}" type="presParOf" srcId="{0C0FD134-7314-419D-AEAA-59064230123A}" destId="{20A5E26F-AE63-45E4-A31C-A902FCBC3FE7}" srcOrd="1" destOrd="0" presId="urn:microsoft.com/office/officeart/2005/8/layout/vList4#2"/>
    <dgm:cxn modelId="{E901C3BF-1D71-45B6-B55C-DCD937D90C33}" type="presParOf" srcId="{0C0FD134-7314-419D-AEAA-59064230123A}" destId="{91B8B45E-62D8-4A62-9284-DB42A145CE05}" srcOrd="2" destOrd="0" presId="urn:microsoft.com/office/officeart/2005/8/layout/vList4#2"/>
    <dgm:cxn modelId="{0EDFE2F8-0215-4DBE-B893-B324F4A65FA3}" type="presParOf" srcId="{91B8B45E-62D8-4A62-9284-DB42A145CE05}" destId="{C7D3381C-0657-4F7A-96E9-75A66D4E6CD1}" srcOrd="0" destOrd="0" presId="urn:microsoft.com/office/officeart/2005/8/layout/vList4#2"/>
    <dgm:cxn modelId="{5B2E22CC-365F-4235-8546-FE93E8836BB7}" type="presParOf" srcId="{91B8B45E-62D8-4A62-9284-DB42A145CE05}" destId="{6288F01F-C924-4037-8B37-0F3F0187A128}" srcOrd="1" destOrd="0" presId="urn:microsoft.com/office/officeart/2005/8/layout/vList4#2"/>
    <dgm:cxn modelId="{9CA675BB-70B3-4739-A08E-2FDB32B66D15}" type="presParOf" srcId="{91B8B45E-62D8-4A62-9284-DB42A145CE05}" destId="{8B6AB3E1-0CE6-4484-975D-93B3BB64B731}" srcOrd="2" destOrd="0" presId="urn:microsoft.com/office/officeart/2005/8/layout/vList4#2"/>
    <dgm:cxn modelId="{57FE9B99-3D5B-4AD4-BCC5-CEB064AE2619}" type="presParOf" srcId="{0C0FD134-7314-419D-AEAA-59064230123A}" destId="{CF226F25-893A-43D9-BCB0-E2FCC2A35C2C}" srcOrd="3" destOrd="0" presId="urn:microsoft.com/office/officeart/2005/8/layout/vList4#2"/>
    <dgm:cxn modelId="{FD565B83-1ED5-4161-B9F1-C50661AFAD41}" type="presParOf" srcId="{0C0FD134-7314-419D-AEAA-59064230123A}" destId="{3CA7A233-6722-431B-80DD-9151263B9BAD}" srcOrd="4" destOrd="0" presId="urn:microsoft.com/office/officeart/2005/8/layout/vList4#2"/>
    <dgm:cxn modelId="{427E5C6A-7F3F-4022-B3A8-92581E983F44}" type="presParOf" srcId="{3CA7A233-6722-431B-80DD-9151263B9BAD}" destId="{D2693B5D-E925-4815-B608-C4FA9755DF1F}" srcOrd="0" destOrd="0" presId="urn:microsoft.com/office/officeart/2005/8/layout/vList4#2"/>
    <dgm:cxn modelId="{E415797E-7E1F-4C5A-8435-CFB176FCEC75}" type="presParOf" srcId="{3CA7A233-6722-431B-80DD-9151263B9BAD}" destId="{C42E9402-A0F4-4550-A50B-0EC4A0A313F3}" srcOrd="1" destOrd="0" presId="urn:microsoft.com/office/officeart/2005/8/layout/vList4#2"/>
    <dgm:cxn modelId="{EF2C5ED4-599A-4308-A1B9-B22260076CE3}" type="presParOf" srcId="{3CA7A233-6722-431B-80DD-9151263B9BAD}" destId="{BAA19BE6-6B62-4A45-81C2-47424EC35079}" srcOrd="2" destOrd="0" presId="urn:microsoft.com/office/officeart/2005/8/layout/vList4#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642F610F-EECA-4039-9CCE-BD52B1157751}" type="doc">
      <dgm:prSet loTypeId="urn:microsoft.com/office/officeart/2008/layout/VerticalCurvedList" loCatId="list" qsTypeId="urn:microsoft.com/office/officeart/2005/8/quickstyle/3d3" qsCatId="3D" csTypeId="urn:microsoft.com/office/officeart/2005/8/colors/colorful3" csCatId="colorful" phldr="1"/>
      <dgm:spPr/>
      <dgm:t>
        <a:bodyPr/>
        <a:lstStyle/>
        <a:p>
          <a:endParaRPr lang="zh-CN" altLang="en-US"/>
        </a:p>
      </dgm:t>
    </dgm:pt>
    <dgm:pt modelId="{EEC1492C-D814-4378-9FD8-EA8EA6D48285}">
      <dgm:prSet phldrT="[文本]"/>
      <dgm:spPr/>
      <dgm:t>
        <a:bodyPr/>
        <a:lstStyle/>
        <a:p>
          <a:r>
            <a:rPr lang="zh-CN" altLang="en-US" dirty="0" smtClean="0"/>
            <a:t>客户端验证</a:t>
          </a:r>
          <a:endParaRPr lang="zh-CN" altLang="en-US" dirty="0"/>
        </a:p>
      </dgm:t>
    </dgm:pt>
    <dgm:pt modelId="{90E14D1A-D980-4834-832F-B42ACA91D352}" type="parTrans" cxnId="{26907D83-9AC4-4575-9B87-0BCF0C619BFC}">
      <dgm:prSet/>
      <dgm:spPr/>
      <dgm:t>
        <a:bodyPr/>
        <a:lstStyle/>
        <a:p>
          <a:endParaRPr lang="zh-CN" altLang="en-US"/>
        </a:p>
      </dgm:t>
    </dgm:pt>
    <dgm:pt modelId="{AAC97B29-48C9-4F5C-9C93-23CD83261269}" type="sibTrans" cxnId="{26907D83-9AC4-4575-9B87-0BCF0C619BFC}">
      <dgm:prSet/>
      <dgm:spPr/>
      <dgm:t>
        <a:bodyPr/>
        <a:lstStyle/>
        <a:p>
          <a:endParaRPr lang="zh-CN" altLang="en-US"/>
        </a:p>
      </dgm:t>
    </dgm:pt>
    <dgm:pt modelId="{5103344A-4EC5-443A-B313-7B80DE5D0A9F}">
      <dgm:prSet phldrT="[文本]"/>
      <dgm:spPr/>
      <dgm:t>
        <a:bodyPr/>
        <a:lstStyle/>
        <a:p>
          <a:r>
            <a:rPr lang="en-US" altLang="zh-CN" dirty="0" err="1" smtClean="0"/>
            <a:t>TextHelper</a:t>
          </a:r>
          <a:endParaRPr lang="zh-CN" altLang="en-US" dirty="0"/>
        </a:p>
      </dgm:t>
    </dgm:pt>
    <dgm:pt modelId="{493B9275-DF22-4228-85D0-DBF17A7096DF}" type="parTrans" cxnId="{52AC684F-B591-49CA-8295-BD2D3987B09D}">
      <dgm:prSet/>
      <dgm:spPr/>
      <dgm:t>
        <a:bodyPr/>
        <a:lstStyle/>
        <a:p>
          <a:endParaRPr lang="zh-CN" altLang="en-US"/>
        </a:p>
      </dgm:t>
    </dgm:pt>
    <dgm:pt modelId="{79D8B436-5B86-40F7-A4AB-B9927523F704}" type="sibTrans" cxnId="{52AC684F-B591-49CA-8295-BD2D3987B09D}">
      <dgm:prSet/>
      <dgm:spPr/>
      <dgm:t>
        <a:bodyPr/>
        <a:lstStyle/>
        <a:p>
          <a:endParaRPr lang="zh-CN" altLang="en-US"/>
        </a:p>
      </dgm:t>
    </dgm:pt>
    <dgm:pt modelId="{7DED9660-685B-4847-9B1F-660026CCC405}">
      <dgm:prSet phldrT="[文本]"/>
      <dgm:spPr/>
      <dgm:t>
        <a:bodyPr/>
        <a:lstStyle/>
        <a:p>
          <a:r>
            <a:rPr lang="zh-CN" altLang="en-US" dirty="0" smtClean="0"/>
            <a:t>文件上传（按需加载）</a:t>
          </a:r>
          <a:endParaRPr lang="zh-CN" altLang="en-US" dirty="0"/>
        </a:p>
      </dgm:t>
    </dgm:pt>
    <dgm:pt modelId="{B0B65E85-1261-40A8-90F0-374B11D10B5B}" type="parTrans" cxnId="{75AC211A-FE6B-484C-8256-65F07DFFA9EE}">
      <dgm:prSet/>
      <dgm:spPr/>
      <dgm:t>
        <a:bodyPr/>
        <a:lstStyle/>
        <a:p>
          <a:endParaRPr lang="zh-CN" altLang="en-US"/>
        </a:p>
      </dgm:t>
    </dgm:pt>
    <dgm:pt modelId="{FEB7B465-54CC-4D23-A419-3A4D456C646E}" type="sibTrans" cxnId="{75AC211A-FE6B-484C-8256-65F07DFFA9EE}">
      <dgm:prSet/>
      <dgm:spPr/>
      <dgm:t>
        <a:bodyPr/>
        <a:lstStyle/>
        <a:p>
          <a:endParaRPr lang="zh-CN" altLang="en-US"/>
        </a:p>
      </dgm:t>
    </dgm:pt>
    <dgm:pt modelId="{0942AEBB-3605-4587-936E-36D8E7A17BB1}">
      <dgm:prSet phldrT="[文本]"/>
      <dgm:spPr/>
      <dgm:t>
        <a:bodyPr/>
        <a:lstStyle/>
        <a:p>
          <a:r>
            <a:rPr lang="zh-CN" altLang="en-US" dirty="0" smtClean="0"/>
            <a:t>弹出遮罩</a:t>
          </a:r>
          <a:endParaRPr lang="zh-CN" altLang="en-US" dirty="0"/>
        </a:p>
      </dgm:t>
    </dgm:pt>
    <dgm:pt modelId="{565AAAE7-B4BF-497E-A9EF-50455C95CF49}" type="parTrans" cxnId="{498B82D6-25F4-4E4D-B655-295500F8F4DA}">
      <dgm:prSet/>
      <dgm:spPr/>
      <dgm:t>
        <a:bodyPr/>
        <a:lstStyle/>
        <a:p>
          <a:endParaRPr lang="zh-CN" altLang="en-US"/>
        </a:p>
      </dgm:t>
    </dgm:pt>
    <dgm:pt modelId="{E4D880E0-9F9E-4F81-A2A9-2530A5264A2D}" type="sibTrans" cxnId="{498B82D6-25F4-4E4D-B655-295500F8F4DA}">
      <dgm:prSet/>
      <dgm:spPr/>
      <dgm:t>
        <a:bodyPr/>
        <a:lstStyle/>
        <a:p>
          <a:endParaRPr lang="zh-CN" altLang="en-US"/>
        </a:p>
      </dgm:t>
    </dgm:pt>
    <dgm:pt modelId="{6558C4E0-7AD5-447F-BE86-262F975CEBE0}">
      <dgm:prSet phldrT="[文本]"/>
      <dgm:spPr/>
      <dgm:t>
        <a:bodyPr/>
        <a:lstStyle/>
        <a:p>
          <a:r>
            <a:rPr lang="zh-CN" altLang="en-US" dirty="0" smtClean="0"/>
            <a:t>时间控件（按需加载）</a:t>
          </a:r>
          <a:endParaRPr lang="zh-CN" altLang="en-US" dirty="0"/>
        </a:p>
      </dgm:t>
    </dgm:pt>
    <dgm:pt modelId="{EAA2BA6D-BDC4-456D-AF93-76BAD69050AC}" type="parTrans" cxnId="{92415B02-137F-4F43-A1EA-3B48CC469E23}">
      <dgm:prSet/>
      <dgm:spPr/>
      <dgm:t>
        <a:bodyPr/>
        <a:lstStyle/>
        <a:p>
          <a:endParaRPr lang="zh-CN" altLang="en-US"/>
        </a:p>
      </dgm:t>
    </dgm:pt>
    <dgm:pt modelId="{6CDE1970-D771-4BCD-830D-A35F0CB7B171}" type="sibTrans" cxnId="{92415B02-137F-4F43-A1EA-3B48CC469E23}">
      <dgm:prSet/>
      <dgm:spPr/>
      <dgm:t>
        <a:bodyPr/>
        <a:lstStyle/>
        <a:p>
          <a:endParaRPr lang="zh-CN" altLang="en-US"/>
        </a:p>
      </dgm:t>
    </dgm:pt>
    <dgm:pt modelId="{301DAED9-BEE9-4021-A145-1758F849303D}">
      <dgm:prSet phldrT="[文本]"/>
      <dgm:spPr/>
      <dgm:t>
        <a:bodyPr/>
        <a:lstStyle/>
        <a:p>
          <a:r>
            <a:rPr lang="zh-CN" altLang="en-US" dirty="0" smtClean="0"/>
            <a:t>按需加载</a:t>
          </a:r>
          <a:endParaRPr lang="zh-CN" altLang="en-US" dirty="0"/>
        </a:p>
      </dgm:t>
    </dgm:pt>
    <dgm:pt modelId="{2C4ED1B2-46C7-4141-A928-F878D87F2B66}" type="parTrans" cxnId="{353D2353-B0BF-4F39-8283-FD4CD57644BA}">
      <dgm:prSet/>
      <dgm:spPr/>
      <dgm:t>
        <a:bodyPr/>
        <a:lstStyle/>
        <a:p>
          <a:endParaRPr lang="zh-CN" altLang="en-US"/>
        </a:p>
      </dgm:t>
    </dgm:pt>
    <dgm:pt modelId="{DB0A332C-0713-492C-B860-B0E07882FD0A}" type="sibTrans" cxnId="{353D2353-B0BF-4F39-8283-FD4CD57644BA}">
      <dgm:prSet/>
      <dgm:spPr/>
      <dgm:t>
        <a:bodyPr/>
        <a:lstStyle/>
        <a:p>
          <a:endParaRPr lang="zh-CN" altLang="en-US"/>
        </a:p>
      </dgm:t>
    </dgm:pt>
    <dgm:pt modelId="{071AB687-8529-499B-8271-A1F471F47487}" type="pres">
      <dgm:prSet presAssocID="{642F610F-EECA-4039-9CCE-BD52B1157751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zh-CN" altLang="en-US"/>
        </a:p>
      </dgm:t>
    </dgm:pt>
    <dgm:pt modelId="{7E08DD8D-AB6F-4304-B1B9-C7796708CD1B}" type="pres">
      <dgm:prSet presAssocID="{642F610F-EECA-4039-9CCE-BD52B1157751}" presName="Name1" presStyleCnt="0"/>
      <dgm:spPr/>
    </dgm:pt>
    <dgm:pt modelId="{C96867AB-77C4-4FB9-B5C3-4501796A806A}" type="pres">
      <dgm:prSet presAssocID="{642F610F-EECA-4039-9CCE-BD52B1157751}" presName="cycle" presStyleCnt="0"/>
      <dgm:spPr/>
    </dgm:pt>
    <dgm:pt modelId="{EAE784AF-83CB-4BB1-A059-6D128A075625}" type="pres">
      <dgm:prSet presAssocID="{642F610F-EECA-4039-9CCE-BD52B1157751}" presName="srcNode" presStyleLbl="node1" presStyleIdx="0" presStyleCnt="6"/>
      <dgm:spPr/>
    </dgm:pt>
    <dgm:pt modelId="{33953CE0-9055-4FFC-92C8-C54CAD5A9608}" type="pres">
      <dgm:prSet presAssocID="{642F610F-EECA-4039-9CCE-BD52B1157751}" presName="conn" presStyleLbl="parChTrans1D2" presStyleIdx="0" presStyleCnt="1"/>
      <dgm:spPr/>
      <dgm:t>
        <a:bodyPr/>
        <a:lstStyle/>
        <a:p>
          <a:endParaRPr lang="zh-CN" altLang="en-US"/>
        </a:p>
      </dgm:t>
    </dgm:pt>
    <dgm:pt modelId="{CD713767-A80F-4600-B249-B5523DD4792E}" type="pres">
      <dgm:prSet presAssocID="{642F610F-EECA-4039-9CCE-BD52B1157751}" presName="extraNode" presStyleLbl="node1" presStyleIdx="0" presStyleCnt="6"/>
      <dgm:spPr/>
    </dgm:pt>
    <dgm:pt modelId="{66186E18-975F-4503-B9D0-7B75A6BE583B}" type="pres">
      <dgm:prSet presAssocID="{642F610F-EECA-4039-9CCE-BD52B1157751}" presName="dstNode" presStyleLbl="node1" presStyleIdx="0" presStyleCnt="6"/>
      <dgm:spPr/>
    </dgm:pt>
    <dgm:pt modelId="{6AA42EEC-D01E-494C-BD5F-DE3C59B1FA37}" type="pres">
      <dgm:prSet presAssocID="{301DAED9-BEE9-4021-A145-1758F849303D}" presName="text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9183298-4ABA-499F-83F9-C72FCABE4849}" type="pres">
      <dgm:prSet presAssocID="{301DAED9-BEE9-4021-A145-1758F849303D}" presName="accent_1" presStyleCnt="0"/>
      <dgm:spPr/>
    </dgm:pt>
    <dgm:pt modelId="{FC7F14E4-4F4F-473B-9D58-489304EEBAB1}" type="pres">
      <dgm:prSet presAssocID="{301DAED9-BEE9-4021-A145-1758F849303D}" presName="accentRepeatNode" presStyleLbl="solidFgAcc1" presStyleIdx="0" presStyleCnt="6"/>
      <dgm:spPr/>
    </dgm:pt>
    <dgm:pt modelId="{A407C96A-C12E-400F-9A0E-CFC6D9034609}" type="pres">
      <dgm:prSet presAssocID="{EEC1492C-D814-4378-9FD8-EA8EA6D48285}" presName="text_2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D0A70FF-20D9-4E91-9C32-1D97366F60B2}" type="pres">
      <dgm:prSet presAssocID="{EEC1492C-D814-4378-9FD8-EA8EA6D48285}" presName="accent_2" presStyleCnt="0"/>
      <dgm:spPr/>
    </dgm:pt>
    <dgm:pt modelId="{66793021-24BF-474F-9F48-E7B46FF52D42}" type="pres">
      <dgm:prSet presAssocID="{EEC1492C-D814-4378-9FD8-EA8EA6D48285}" presName="accentRepeatNode" presStyleLbl="solidFgAcc1" presStyleIdx="1" presStyleCnt="6"/>
      <dgm:spPr/>
    </dgm:pt>
    <dgm:pt modelId="{5A95AB95-0FB7-4170-AE4B-B4D4FF848C25}" type="pres">
      <dgm:prSet presAssocID="{5103344A-4EC5-443A-B313-7B80DE5D0A9F}" presName="text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4D14134-D8C6-48E9-9556-E83E430D1DA7}" type="pres">
      <dgm:prSet presAssocID="{5103344A-4EC5-443A-B313-7B80DE5D0A9F}" presName="accent_3" presStyleCnt="0"/>
      <dgm:spPr/>
    </dgm:pt>
    <dgm:pt modelId="{AA87CDE0-21D2-42E7-8A5D-F28F13336FA8}" type="pres">
      <dgm:prSet presAssocID="{5103344A-4EC5-443A-B313-7B80DE5D0A9F}" presName="accentRepeatNode" presStyleLbl="solidFgAcc1" presStyleIdx="2" presStyleCnt="6"/>
      <dgm:spPr/>
    </dgm:pt>
    <dgm:pt modelId="{37F98CCB-4E35-40D7-BEB6-7D4A1F307268}" type="pres">
      <dgm:prSet presAssocID="{7DED9660-685B-4847-9B1F-660026CCC405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4576386-735E-41CD-8A7B-D4D6B5BF5956}" type="pres">
      <dgm:prSet presAssocID="{7DED9660-685B-4847-9B1F-660026CCC405}" presName="accent_4" presStyleCnt="0"/>
      <dgm:spPr/>
    </dgm:pt>
    <dgm:pt modelId="{0E3FFF4B-E272-4A1E-90E6-5E992725C8BC}" type="pres">
      <dgm:prSet presAssocID="{7DED9660-685B-4847-9B1F-660026CCC405}" presName="accentRepeatNode" presStyleLbl="solidFgAcc1" presStyleIdx="3" presStyleCnt="6"/>
      <dgm:spPr/>
    </dgm:pt>
    <dgm:pt modelId="{3E3161F0-BC94-475B-83A0-CF461D6F58A7}" type="pres">
      <dgm:prSet presAssocID="{0942AEBB-3605-4587-936E-36D8E7A17BB1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219B789-E3A4-47BE-B183-79305456553E}" type="pres">
      <dgm:prSet presAssocID="{0942AEBB-3605-4587-936E-36D8E7A17BB1}" presName="accent_5" presStyleCnt="0"/>
      <dgm:spPr/>
    </dgm:pt>
    <dgm:pt modelId="{0D23858C-1EBE-46F3-87F2-CAED87EFD540}" type="pres">
      <dgm:prSet presAssocID="{0942AEBB-3605-4587-936E-36D8E7A17BB1}" presName="accentRepeatNode" presStyleLbl="solidFgAcc1" presStyleIdx="4" presStyleCnt="6"/>
      <dgm:spPr/>
    </dgm:pt>
    <dgm:pt modelId="{50A71E95-004B-45EF-AECB-B92A931ECCB5}" type="pres">
      <dgm:prSet presAssocID="{6558C4E0-7AD5-447F-BE86-262F975CEBE0}" presName="text_6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4B55998-1721-4D66-B678-44DD6360CB2F}" type="pres">
      <dgm:prSet presAssocID="{6558C4E0-7AD5-447F-BE86-262F975CEBE0}" presName="accent_6" presStyleCnt="0"/>
      <dgm:spPr/>
    </dgm:pt>
    <dgm:pt modelId="{25B5D36C-466A-4738-BC00-023B3B547497}" type="pres">
      <dgm:prSet presAssocID="{6558C4E0-7AD5-447F-BE86-262F975CEBE0}" presName="accentRepeatNode" presStyleLbl="solidFgAcc1" presStyleIdx="5" presStyleCnt="6"/>
      <dgm:spPr/>
    </dgm:pt>
  </dgm:ptLst>
  <dgm:cxnLst>
    <dgm:cxn modelId="{353D2353-B0BF-4F39-8283-FD4CD57644BA}" srcId="{642F610F-EECA-4039-9CCE-BD52B1157751}" destId="{301DAED9-BEE9-4021-A145-1758F849303D}" srcOrd="0" destOrd="0" parTransId="{2C4ED1B2-46C7-4141-A928-F878D87F2B66}" sibTransId="{DB0A332C-0713-492C-B860-B0E07882FD0A}"/>
    <dgm:cxn modelId="{0E1222DE-F468-4298-BCDE-7DB0493F830B}" type="presOf" srcId="{5103344A-4EC5-443A-B313-7B80DE5D0A9F}" destId="{5A95AB95-0FB7-4170-AE4B-B4D4FF848C25}" srcOrd="0" destOrd="0" presId="urn:microsoft.com/office/officeart/2008/layout/VerticalCurvedList"/>
    <dgm:cxn modelId="{3597DD34-543D-47A4-935F-3DDF5A117661}" type="presOf" srcId="{DB0A332C-0713-492C-B860-B0E07882FD0A}" destId="{33953CE0-9055-4FFC-92C8-C54CAD5A9608}" srcOrd="0" destOrd="0" presId="urn:microsoft.com/office/officeart/2008/layout/VerticalCurvedList"/>
    <dgm:cxn modelId="{905B6AB0-E8A1-41E1-BC74-3BE136BAE489}" type="presOf" srcId="{6558C4E0-7AD5-447F-BE86-262F975CEBE0}" destId="{50A71E95-004B-45EF-AECB-B92A931ECCB5}" srcOrd="0" destOrd="0" presId="urn:microsoft.com/office/officeart/2008/layout/VerticalCurvedList"/>
    <dgm:cxn modelId="{E06EE690-951E-4B10-BFC7-D738BD935611}" type="presOf" srcId="{EEC1492C-D814-4378-9FD8-EA8EA6D48285}" destId="{A407C96A-C12E-400F-9A0E-CFC6D9034609}" srcOrd="0" destOrd="0" presId="urn:microsoft.com/office/officeart/2008/layout/VerticalCurvedList"/>
    <dgm:cxn modelId="{905522B9-183C-422B-8748-E3BD2D42BD99}" type="presOf" srcId="{7DED9660-685B-4847-9B1F-660026CCC405}" destId="{37F98CCB-4E35-40D7-BEB6-7D4A1F307268}" srcOrd="0" destOrd="0" presId="urn:microsoft.com/office/officeart/2008/layout/VerticalCurvedList"/>
    <dgm:cxn modelId="{7482A3AE-B003-40E7-9704-0DB6C13B4764}" type="presOf" srcId="{0942AEBB-3605-4587-936E-36D8E7A17BB1}" destId="{3E3161F0-BC94-475B-83A0-CF461D6F58A7}" srcOrd="0" destOrd="0" presId="urn:microsoft.com/office/officeart/2008/layout/VerticalCurvedList"/>
    <dgm:cxn modelId="{498B82D6-25F4-4E4D-B655-295500F8F4DA}" srcId="{642F610F-EECA-4039-9CCE-BD52B1157751}" destId="{0942AEBB-3605-4587-936E-36D8E7A17BB1}" srcOrd="4" destOrd="0" parTransId="{565AAAE7-B4BF-497E-A9EF-50455C95CF49}" sibTransId="{E4D880E0-9F9E-4F81-A2A9-2530A5264A2D}"/>
    <dgm:cxn modelId="{26907D83-9AC4-4575-9B87-0BCF0C619BFC}" srcId="{642F610F-EECA-4039-9CCE-BD52B1157751}" destId="{EEC1492C-D814-4378-9FD8-EA8EA6D48285}" srcOrd="1" destOrd="0" parTransId="{90E14D1A-D980-4834-832F-B42ACA91D352}" sibTransId="{AAC97B29-48C9-4F5C-9C93-23CD83261269}"/>
    <dgm:cxn modelId="{9AB563F8-8A18-4570-A009-60C9E124E8C2}" type="presOf" srcId="{642F610F-EECA-4039-9CCE-BD52B1157751}" destId="{071AB687-8529-499B-8271-A1F471F47487}" srcOrd="0" destOrd="0" presId="urn:microsoft.com/office/officeart/2008/layout/VerticalCurvedList"/>
    <dgm:cxn modelId="{92415B02-137F-4F43-A1EA-3B48CC469E23}" srcId="{642F610F-EECA-4039-9CCE-BD52B1157751}" destId="{6558C4E0-7AD5-447F-BE86-262F975CEBE0}" srcOrd="5" destOrd="0" parTransId="{EAA2BA6D-BDC4-456D-AF93-76BAD69050AC}" sibTransId="{6CDE1970-D771-4BCD-830D-A35F0CB7B171}"/>
    <dgm:cxn modelId="{52AC684F-B591-49CA-8295-BD2D3987B09D}" srcId="{642F610F-EECA-4039-9CCE-BD52B1157751}" destId="{5103344A-4EC5-443A-B313-7B80DE5D0A9F}" srcOrd="2" destOrd="0" parTransId="{493B9275-DF22-4228-85D0-DBF17A7096DF}" sibTransId="{79D8B436-5B86-40F7-A4AB-B9927523F704}"/>
    <dgm:cxn modelId="{75AC211A-FE6B-484C-8256-65F07DFFA9EE}" srcId="{642F610F-EECA-4039-9CCE-BD52B1157751}" destId="{7DED9660-685B-4847-9B1F-660026CCC405}" srcOrd="3" destOrd="0" parTransId="{B0B65E85-1261-40A8-90F0-374B11D10B5B}" sibTransId="{FEB7B465-54CC-4D23-A419-3A4D456C646E}"/>
    <dgm:cxn modelId="{29BFDCB6-A9C6-4312-9563-81DC9B4481C7}" type="presOf" srcId="{301DAED9-BEE9-4021-A145-1758F849303D}" destId="{6AA42EEC-D01E-494C-BD5F-DE3C59B1FA37}" srcOrd="0" destOrd="0" presId="urn:microsoft.com/office/officeart/2008/layout/VerticalCurvedList"/>
    <dgm:cxn modelId="{C9B7A61B-9FF7-4FCC-B566-52E4E511B2B1}" type="presParOf" srcId="{071AB687-8529-499B-8271-A1F471F47487}" destId="{7E08DD8D-AB6F-4304-B1B9-C7796708CD1B}" srcOrd="0" destOrd="0" presId="urn:microsoft.com/office/officeart/2008/layout/VerticalCurvedList"/>
    <dgm:cxn modelId="{BC4A121F-AA91-4666-9E2A-BF612584DC69}" type="presParOf" srcId="{7E08DD8D-AB6F-4304-B1B9-C7796708CD1B}" destId="{C96867AB-77C4-4FB9-B5C3-4501796A806A}" srcOrd="0" destOrd="0" presId="urn:microsoft.com/office/officeart/2008/layout/VerticalCurvedList"/>
    <dgm:cxn modelId="{2F106627-BFD8-4CE6-AD57-41A8DBA865AA}" type="presParOf" srcId="{C96867AB-77C4-4FB9-B5C3-4501796A806A}" destId="{EAE784AF-83CB-4BB1-A059-6D128A075625}" srcOrd="0" destOrd="0" presId="urn:microsoft.com/office/officeart/2008/layout/VerticalCurvedList"/>
    <dgm:cxn modelId="{7A51C7F5-85BA-485B-99FC-F024451FCD88}" type="presParOf" srcId="{C96867AB-77C4-4FB9-B5C3-4501796A806A}" destId="{33953CE0-9055-4FFC-92C8-C54CAD5A9608}" srcOrd="1" destOrd="0" presId="urn:microsoft.com/office/officeart/2008/layout/VerticalCurvedList"/>
    <dgm:cxn modelId="{C9D93E13-F76F-4E69-B818-2C5206D3B55E}" type="presParOf" srcId="{C96867AB-77C4-4FB9-B5C3-4501796A806A}" destId="{CD713767-A80F-4600-B249-B5523DD4792E}" srcOrd="2" destOrd="0" presId="urn:microsoft.com/office/officeart/2008/layout/VerticalCurvedList"/>
    <dgm:cxn modelId="{89C15950-3022-4661-BE79-B042D5877B05}" type="presParOf" srcId="{C96867AB-77C4-4FB9-B5C3-4501796A806A}" destId="{66186E18-975F-4503-B9D0-7B75A6BE583B}" srcOrd="3" destOrd="0" presId="urn:microsoft.com/office/officeart/2008/layout/VerticalCurvedList"/>
    <dgm:cxn modelId="{80C9D5D4-5D1C-4D06-8DAA-572CB37A75A0}" type="presParOf" srcId="{7E08DD8D-AB6F-4304-B1B9-C7796708CD1B}" destId="{6AA42EEC-D01E-494C-BD5F-DE3C59B1FA37}" srcOrd="1" destOrd="0" presId="urn:microsoft.com/office/officeart/2008/layout/VerticalCurvedList"/>
    <dgm:cxn modelId="{70008EAE-FBF2-4D7A-A3FD-C391488C0B3A}" type="presParOf" srcId="{7E08DD8D-AB6F-4304-B1B9-C7796708CD1B}" destId="{59183298-4ABA-499F-83F9-C72FCABE4849}" srcOrd="2" destOrd="0" presId="urn:microsoft.com/office/officeart/2008/layout/VerticalCurvedList"/>
    <dgm:cxn modelId="{3BCB2992-0C72-428F-A614-1721E3591A81}" type="presParOf" srcId="{59183298-4ABA-499F-83F9-C72FCABE4849}" destId="{FC7F14E4-4F4F-473B-9D58-489304EEBAB1}" srcOrd="0" destOrd="0" presId="urn:microsoft.com/office/officeart/2008/layout/VerticalCurvedList"/>
    <dgm:cxn modelId="{1E1B438B-4BE8-4C1F-A5C4-602693124E14}" type="presParOf" srcId="{7E08DD8D-AB6F-4304-B1B9-C7796708CD1B}" destId="{A407C96A-C12E-400F-9A0E-CFC6D9034609}" srcOrd="3" destOrd="0" presId="urn:microsoft.com/office/officeart/2008/layout/VerticalCurvedList"/>
    <dgm:cxn modelId="{707868D0-E86D-496D-87C8-C32AF60D8BA0}" type="presParOf" srcId="{7E08DD8D-AB6F-4304-B1B9-C7796708CD1B}" destId="{1D0A70FF-20D9-4E91-9C32-1D97366F60B2}" srcOrd="4" destOrd="0" presId="urn:microsoft.com/office/officeart/2008/layout/VerticalCurvedList"/>
    <dgm:cxn modelId="{595E3F6B-4FC7-4D0E-ADFE-D7CDD5C38A26}" type="presParOf" srcId="{1D0A70FF-20D9-4E91-9C32-1D97366F60B2}" destId="{66793021-24BF-474F-9F48-E7B46FF52D42}" srcOrd="0" destOrd="0" presId="urn:microsoft.com/office/officeart/2008/layout/VerticalCurvedList"/>
    <dgm:cxn modelId="{9C285789-4C60-48C5-8772-3F84600CE6F4}" type="presParOf" srcId="{7E08DD8D-AB6F-4304-B1B9-C7796708CD1B}" destId="{5A95AB95-0FB7-4170-AE4B-B4D4FF848C25}" srcOrd="5" destOrd="0" presId="urn:microsoft.com/office/officeart/2008/layout/VerticalCurvedList"/>
    <dgm:cxn modelId="{DDF20241-F439-480B-B1AD-0D548E920039}" type="presParOf" srcId="{7E08DD8D-AB6F-4304-B1B9-C7796708CD1B}" destId="{14D14134-D8C6-48E9-9556-E83E430D1DA7}" srcOrd="6" destOrd="0" presId="urn:microsoft.com/office/officeart/2008/layout/VerticalCurvedList"/>
    <dgm:cxn modelId="{5E20B42C-A52E-46AA-BB0A-9E12F16FB79C}" type="presParOf" srcId="{14D14134-D8C6-48E9-9556-E83E430D1DA7}" destId="{AA87CDE0-21D2-42E7-8A5D-F28F13336FA8}" srcOrd="0" destOrd="0" presId="urn:microsoft.com/office/officeart/2008/layout/VerticalCurvedList"/>
    <dgm:cxn modelId="{56923F2B-04F2-44B0-A4FC-4D94CD8E7FF9}" type="presParOf" srcId="{7E08DD8D-AB6F-4304-B1B9-C7796708CD1B}" destId="{37F98CCB-4E35-40D7-BEB6-7D4A1F307268}" srcOrd="7" destOrd="0" presId="urn:microsoft.com/office/officeart/2008/layout/VerticalCurvedList"/>
    <dgm:cxn modelId="{ED536BA6-66FD-4499-B80B-AD697C678ABE}" type="presParOf" srcId="{7E08DD8D-AB6F-4304-B1B9-C7796708CD1B}" destId="{C4576386-735E-41CD-8A7B-D4D6B5BF5956}" srcOrd="8" destOrd="0" presId="urn:microsoft.com/office/officeart/2008/layout/VerticalCurvedList"/>
    <dgm:cxn modelId="{2AC765E6-A57D-4D02-AEE3-9579B17EC3D5}" type="presParOf" srcId="{C4576386-735E-41CD-8A7B-D4D6B5BF5956}" destId="{0E3FFF4B-E272-4A1E-90E6-5E992725C8BC}" srcOrd="0" destOrd="0" presId="urn:microsoft.com/office/officeart/2008/layout/VerticalCurvedList"/>
    <dgm:cxn modelId="{97567FED-E500-4495-AA48-F04712DEF6A3}" type="presParOf" srcId="{7E08DD8D-AB6F-4304-B1B9-C7796708CD1B}" destId="{3E3161F0-BC94-475B-83A0-CF461D6F58A7}" srcOrd="9" destOrd="0" presId="urn:microsoft.com/office/officeart/2008/layout/VerticalCurvedList"/>
    <dgm:cxn modelId="{8BEEF8E4-C305-4905-8330-FBB89F42498D}" type="presParOf" srcId="{7E08DD8D-AB6F-4304-B1B9-C7796708CD1B}" destId="{7219B789-E3A4-47BE-B183-79305456553E}" srcOrd="10" destOrd="0" presId="urn:microsoft.com/office/officeart/2008/layout/VerticalCurvedList"/>
    <dgm:cxn modelId="{A545D35B-9DD7-470E-8182-7E7315B8C4FB}" type="presParOf" srcId="{7219B789-E3A4-47BE-B183-79305456553E}" destId="{0D23858C-1EBE-46F3-87F2-CAED87EFD540}" srcOrd="0" destOrd="0" presId="urn:microsoft.com/office/officeart/2008/layout/VerticalCurvedList"/>
    <dgm:cxn modelId="{9A45503A-2BD2-4241-A6ED-5C727106420D}" type="presParOf" srcId="{7E08DD8D-AB6F-4304-B1B9-C7796708CD1B}" destId="{50A71E95-004B-45EF-AECB-B92A931ECCB5}" srcOrd="11" destOrd="0" presId="urn:microsoft.com/office/officeart/2008/layout/VerticalCurvedList"/>
    <dgm:cxn modelId="{88D243BB-86DB-4A29-871B-7FDB13D1DE8F}" type="presParOf" srcId="{7E08DD8D-AB6F-4304-B1B9-C7796708CD1B}" destId="{E4B55998-1721-4D66-B678-44DD6360CB2F}" srcOrd="12" destOrd="0" presId="urn:microsoft.com/office/officeart/2008/layout/VerticalCurvedList"/>
    <dgm:cxn modelId="{4BBDF410-4428-4E3C-8600-DF340AC8EAFD}" type="presParOf" srcId="{E4B55998-1721-4D66-B678-44DD6360CB2F}" destId="{25B5D36C-466A-4738-BC00-023B3B547497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7021766F-AEAE-43FB-85F0-1BC0668834AD}" type="doc">
      <dgm:prSet loTypeId="urn:microsoft.com/office/officeart/2008/layout/VerticalCircleList" loCatId="list" qsTypeId="urn:microsoft.com/office/officeart/2005/8/quickstyle/3d2" qsCatId="3D" csTypeId="urn:microsoft.com/office/officeart/2005/8/colors/colorful3" csCatId="colorful" phldr="1"/>
      <dgm:spPr/>
      <dgm:t>
        <a:bodyPr/>
        <a:lstStyle/>
        <a:p>
          <a:endParaRPr lang="zh-CN" altLang="en-US"/>
        </a:p>
      </dgm:t>
    </dgm:pt>
    <dgm:pt modelId="{FFC30811-3108-4168-98CE-4BD38A4FF335}">
      <dgm:prSet phldrT="[文本]"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r>
            <a:rPr lang="zh-CN" altLang="en-US" b="1" cap="none" spc="50" dirty="0" smtClean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rPr>
            <a:t>性能优化</a:t>
          </a:r>
          <a:endParaRPr lang="zh-CN" altLang="en-US" b="1" cap="none" spc="50" dirty="0">
            <a:ln w="11430"/>
            <a:solidFill>
              <a:srgbClr val="003F56"/>
            </a:soli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622AA021-14B4-474B-B4A0-3C1380D40F68}" type="parTrans" cxnId="{39821BAE-34BE-4057-B65C-F45CACE72DBE}">
      <dgm:prSet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endParaRPr lang="zh-CN" altLang="en-US" b="1" cap="none" spc="50">
            <a:ln w="11430"/>
            <a:solidFill>
              <a:srgbClr val="003F56"/>
            </a:soli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C24F76D3-9331-405B-AA01-D9851E6BE755}" type="sibTrans" cxnId="{39821BAE-34BE-4057-B65C-F45CACE72DBE}">
      <dgm:prSet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endParaRPr lang="zh-CN" altLang="en-US" b="1" cap="none" spc="50">
            <a:ln w="11430"/>
            <a:solidFill>
              <a:srgbClr val="003F56"/>
            </a:soli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50E8D243-FD30-49AB-8793-C28C295468A6}" type="pres">
      <dgm:prSet presAssocID="{7021766F-AEAE-43FB-85F0-1BC0668834AD}" presName="Name0" presStyleCnt="0">
        <dgm:presLayoutVars>
          <dgm:dir/>
        </dgm:presLayoutVars>
      </dgm:prSet>
      <dgm:spPr/>
      <dgm:t>
        <a:bodyPr/>
        <a:lstStyle/>
        <a:p>
          <a:endParaRPr lang="zh-CN" altLang="en-US"/>
        </a:p>
      </dgm:t>
    </dgm:pt>
    <dgm:pt modelId="{F15858E2-2322-49C8-A2D8-1B6F4DBCCECE}" type="pres">
      <dgm:prSet presAssocID="{FFC30811-3108-4168-98CE-4BD38A4FF335}" presName="noChildren" presStyleCnt="0"/>
      <dgm:spPr/>
    </dgm:pt>
    <dgm:pt modelId="{CCE463C1-4FE8-424F-9266-A77415EA13E7}" type="pres">
      <dgm:prSet presAssocID="{FFC30811-3108-4168-98CE-4BD38A4FF335}" presName="gap" presStyleCnt="0"/>
      <dgm:spPr/>
    </dgm:pt>
    <dgm:pt modelId="{B29F93F9-314E-4EFD-93DB-90B50E8A5DC0}" type="pres">
      <dgm:prSet presAssocID="{FFC30811-3108-4168-98CE-4BD38A4FF335}" presName="medCircle2" presStyleLbl="vennNode1" presStyleIdx="0" presStyleCnt="1"/>
      <dgm:spPr/>
    </dgm:pt>
    <dgm:pt modelId="{E586EFAF-DA53-476D-A75E-8B1FBE0CFA11}" type="pres">
      <dgm:prSet presAssocID="{FFC30811-3108-4168-98CE-4BD38A4FF335}" presName="txLvlOnly1" presStyleLbl="revTx" presStyleIdx="0" presStyleCnt="1"/>
      <dgm:spPr/>
      <dgm:t>
        <a:bodyPr/>
        <a:lstStyle/>
        <a:p>
          <a:endParaRPr lang="zh-CN" altLang="en-US"/>
        </a:p>
      </dgm:t>
    </dgm:pt>
  </dgm:ptLst>
  <dgm:cxnLst>
    <dgm:cxn modelId="{6ECDDEF4-AEB7-445F-A6B5-ED928BAAB200}" type="presOf" srcId="{FFC30811-3108-4168-98CE-4BD38A4FF335}" destId="{E586EFAF-DA53-476D-A75E-8B1FBE0CFA11}" srcOrd="0" destOrd="0" presId="urn:microsoft.com/office/officeart/2008/layout/VerticalCircleList"/>
    <dgm:cxn modelId="{39821BAE-34BE-4057-B65C-F45CACE72DBE}" srcId="{7021766F-AEAE-43FB-85F0-1BC0668834AD}" destId="{FFC30811-3108-4168-98CE-4BD38A4FF335}" srcOrd="0" destOrd="0" parTransId="{622AA021-14B4-474B-B4A0-3C1380D40F68}" sibTransId="{C24F76D3-9331-405B-AA01-D9851E6BE755}"/>
    <dgm:cxn modelId="{9565967D-D6BC-426B-B2D5-BD18259650D2}" type="presOf" srcId="{7021766F-AEAE-43FB-85F0-1BC0668834AD}" destId="{50E8D243-FD30-49AB-8793-C28C295468A6}" srcOrd="0" destOrd="0" presId="urn:microsoft.com/office/officeart/2008/layout/VerticalCircleList"/>
    <dgm:cxn modelId="{5BAF362E-289F-486C-A6A4-1BB55B0D5E4E}" type="presParOf" srcId="{50E8D243-FD30-49AB-8793-C28C295468A6}" destId="{F15858E2-2322-49C8-A2D8-1B6F4DBCCECE}" srcOrd="0" destOrd="0" presId="urn:microsoft.com/office/officeart/2008/layout/VerticalCircleList"/>
    <dgm:cxn modelId="{1EFBA790-74AC-4A46-9D1D-0ADD9897082C}" type="presParOf" srcId="{F15858E2-2322-49C8-A2D8-1B6F4DBCCECE}" destId="{CCE463C1-4FE8-424F-9266-A77415EA13E7}" srcOrd="0" destOrd="0" presId="urn:microsoft.com/office/officeart/2008/layout/VerticalCircleList"/>
    <dgm:cxn modelId="{8D05C30A-50DB-4FCE-B250-F17E2B9E2063}" type="presParOf" srcId="{F15858E2-2322-49C8-A2D8-1B6F4DBCCECE}" destId="{B29F93F9-314E-4EFD-93DB-90B50E8A5DC0}" srcOrd="1" destOrd="0" presId="urn:microsoft.com/office/officeart/2008/layout/VerticalCircleList"/>
    <dgm:cxn modelId="{4802E0E1-8A64-49C7-9464-08A89B49007F}" type="presParOf" srcId="{F15858E2-2322-49C8-A2D8-1B6F4DBCCECE}" destId="{E586EFAF-DA53-476D-A75E-8B1FBE0CFA11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021766F-AEAE-43FB-85F0-1BC0668834AD}" type="doc">
      <dgm:prSet loTypeId="urn:microsoft.com/office/officeart/2008/layout/VerticalCircleList" loCatId="list" qsTypeId="urn:microsoft.com/office/officeart/2005/8/quickstyle/3d2" qsCatId="3D" csTypeId="urn:microsoft.com/office/officeart/2005/8/colors/colorful3" csCatId="colorful" phldr="1"/>
      <dgm:spPr/>
      <dgm:t>
        <a:bodyPr/>
        <a:lstStyle/>
        <a:p>
          <a:endParaRPr lang="zh-CN" altLang="en-US"/>
        </a:p>
      </dgm:t>
    </dgm:pt>
    <dgm:pt modelId="{FFC30811-3108-4168-98CE-4BD38A4FF335}">
      <dgm:prSet phldrT="[文本]"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r>
            <a:rPr lang="zh-CN" altLang="en-US" b="1" cap="none" spc="50" dirty="0" smtClean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rPr>
            <a:t>技术架构</a:t>
          </a:r>
          <a:endParaRPr lang="zh-CN" altLang="en-US" b="1" cap="none" spc="50" dirty="0">
            <a:ln w="11430"/>
            <a:solidFill>
              <a:srgbClr val="003F56"/>
            </a:soli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622AA021-14B4-474B-B4A0-3C1380D40F68}" type="parTrans" cxnId="{39821BAE-34BE-4057-B65C-F45CACE72DBE}">
      <dgm:prSet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endParaRPr lang="zh-CN" altLang="en-US" b="1" cap="none" spc="50">
            <a:ln w="11430"/>
            <a:solidFill>
              <a:srgbClr val="003F56"/>
            </a:soli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C24F76D3-9331-405B-AA01-D9851E6BE755}" type="sibTrans" cxnId="{39821BAE-34BE-4057-B65C-F45CACE72DBE}">
      <dgm:prSet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endParaRPr lang="zh-CN" altLang="en-US" b="1" cap="none" spc="50">
            <a:ln w="11430"/>
            <a:solidFill>
              <a:srgbClr val="003F56"/>
            </a:soli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50E8D243-FD30-49AB-8793-C28C295468A6}" type="pres">
      <dgm:prSet presAssocID="{7021766F-AEAE-43FB-85F0-1BC0668834AD}" presName="Name0" presStyleCnt="0">
        <dgm:presLayoutVars>
          <dgm:dir/>
        </dgm:presLayoutVars>
      </dgm:prSet>
      <dgm:spPr/>
      <dgm:t>
        <a:bodyPr/>
        <a:lstStyle/>
        <a:p>
          <a:endParaRPr lang="zh-CN" altLang="en-US"/>
        </a:p>
      </dgm:t>
    </dgm:pt>
    <dgm:pt modelId="{F15858E2-2322-49C8-A2D8-1B6F4DBCCECE}" type="pres">
      <dgm:prSet presAssocID="{FFC30811-3108-4168-98CE-4BD38A4FF335}" presName="noChildren" presStyleCnt="0"/>
      <dgm:spPr/>
    </dgm:pt>
    <dgm:pt modelId="{CCE463C1-4FE8-424F-9266-A77415EA13E7}" type="pres">
      <dgm:prSet presAssocID="{FFC30811-3108-4168-98CE-4BD38A4FF335}" presName="gap" presStyleCnt="0"/>
      <dgm:spPr/>
    </dgm:pt>
    <dgm:pt modelId="{B29F93F9-314E-4EFD-93DB-90B50E8A5DC0}" type="pres">
      <dgm:prSet presAssocID="{FFC30811-3108-4168-98CE-4BD38A4FF335}" presName="medCircle2" presStyleLbl="vennNode1" presStyleIdx="0" presStyleCnt="1"/>
      <dgm:spPr/>
    </dgm:pt>
    <dgm:pt modelId="{E586EFAF-DA53-476D-A75E-8B1FBE0CFA11}" type="pres">
      <dgm:prSet presAssocID="{FFC30811-3108-4168-98CE-4BD38A4FF335}" presName="txLvlOnly1" presStyleLbl="revTx" presStyleIdx="0" presStyleCnt="1"/>
      <dgm:spPr/>
      <dgm:t>
        <a:bodyPr/>
        <a:lstStyle/>
        <a:p>
          <a:endParaRPr lang="zh-CN" altLang="en-US"/>
        </a:p>
      </dgm:t>
    </dgm:pt>
  </dgm:ptLst>
  <dgm:cxnLst>
    <dgm:cxn modelId="{9F647F87-3781-4D98-AEB1-7386D0E2F7A9}" type="presOf" srcId="{7021766F-AEAE-43FB-85F0-1BC0668834AD}" destId="{50E8D243-FD30-49AB-8793-C28C295468A6}" srcOrd="0" destOrd="0" presId="urn:microsoft.com/office/officeart/2008/layout/VerticalCircleList"/>
    <dgm:cxn modelId="{39821BAE-34BE-4057-B65C-F45CACE72DBE}" srcId="{7021766F-AEAE-43FB-85F0-1BC0668834AD}" destId="{FFC30811-3108-4168-98CE-4BD38A4FF335}" srcOrd="0" destOrd="0" parTransId="{622AA021-14B4-474B-B4A0-3C1380D40F68}" sibTransId="{C24F76D3-9331-405B-AA01-D9851E6BE755}"/>
    <dgm:cxn modelId="{6AA5026B-8E80-468D-B540-86A9CDCFDCB9}" type="presOf" srcId="{FFC30811-3108-4168-98CE-4BD38A4FF335}" destId="{E586EFAF-DA53-476D-A75E-8B1FBE0CFA11}" srcOrd="0" destOrd="0" presId="urn:microsoft.com/office/officeart/2008/layout/VerticalCircleList"/>
    <dgm:cxn modelId="{E5F01F02-7910-4340-81A0-5C1763A3F5B3}" type="presParOf" srcId="{50E8D243-FD30-49AB-8793-C28C295468A6}" destId="{F15858E2-2322-49C8-A2D8-1B6F4DBCCECE}" srcOrd="0" destOrd="0" presId="urn:microsoft.com/office/officeart/2008/layout/VerticalCircleList"/>
    <dgm:cxn modelId="{C0DB8D7A-4FD8-466D-8923-DEA25C4B554F}" type="presParOf" srcId="{F15858E2-2322-49C8-A2D8-1B6F4DBCCECE}" destId="{CCE463C1-4FE8-424F-9266-A77415EA13E7}" srcOrd="0" destOrd="0" presId="urn:microsoft.com/office/officeart/2008/layout/VerticalCircleList"/>
    <dgm:cxn modelId="{67889295-7DAB-44A2-B4F2-0DB10DF53091}" type="presParOf" srcId="{F15858E2-2322-49C8-A2D8-1B6F4DBCCECE}" destId="{B29F93F9-314E-4EFD-93DB-90B50E8A5DC0}" srcOrd="1" destOrd="0" presId="urn:microsoft.com/office/officeart/2008/layout/VerticalCircleList"/>
    <dgm:cxn modelId="{05DB0AA7-1A19-4B0B-8312-5B354842A8AA}" type="presParOf" srcId="{F15858E2-2322-49C8-A2D8-1B6F4DBCCECE}" destId="{E586EFAF-DA53-476D-A75E-8B1FBE0CFA11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BD8BAB1F-3BAD-49CC-875D-CD86CEC03800}" type="doc">
      <dgm:prSet loTypeId="urn:microsoft.com/office/officeart/2008/layout/VerticalCurvedList" loCatId="list" qsTypeId="urn:microsoft.com/office/officeart/2005/8/quickstyle/3d3" qsCatId="3D" csTypeId="urn:microsoft.com/office/officeart/2005/8/colors/colorful2" csCatId="colorful" phldr="1"/>
      <dgm:spPr/>
      <dgm:t>
        <a:bodyPr/>
        <a:lstStyle/>
        <a:p>
          <a:endParaRPr lang="zh-CN" altLang="en-US"/>
        </a:p>
      </dgm:t>
    </dgm:pt>
    <dgm:pt modelId="{F1526D5E-9B43-4715-B2AD-1C7B0FF0C4FD}">
      <dgm:prSet phldrT="[文本]"/>
      <dgm:spPr/>
      <dgm:t>
        <a:bodyPr/>
        <a:lstStyle/>
        <a:p>
          <a:r>
            <a:rPr lang="zh-CN" altLang="en-US" dirty="0" smtClean="0"/>
            <a:t>主键缓存</a:t>
          </a:r>
          <a:endParaRPr lang="zh-CN" altLang="en-US" dirty="0"/>
        </a:p>
      </dgm:t>
    </dgm:pt>
    <dgm:pt modelId="{C0B7AB00-442C-40A7-89A2-1A8091594207}" type="parTrans" cxnId="{23561984-AD10-4840-9C3A-C15AEDADFB27}">
      <dgm:prSet/>
      <dgm:spPr/>
      <dgm:t>
        <a:bodyPr/>
        <a:lstStyle/>
        <a:p>
          <a:endParaRPr lang="zh-CN" altLang="en-US"/>
        </a:p>
      </dgm:t>
    </dgm:pt>
    <dgm:pt modelId="{60877B6C-C2F1-4081-997D-4B2ECB730551}" type="sibTrans" cxnId="{23561984-AD10-4840-9C3A-C15AEDADFB27}">
      <dgm:prSet/>
      <dgm:spPr/>
      <dgm:t>
        <a:bodyPr/>
        <a:lstStyle/>
        <a:p>
          <a:endParaRPr lang="zh-CN" altLang="en-US"/>
        </a:p>
      </dgm:t>
    </dgm:pt>
    <dgm:pt modelId="{6F6F1A27-87CE-4189-B2AB-A83AB38E0663}">
      <dgm:prSet phldrT="[文本]"/>
      <dgm:spPr/>
      <dgm:t>
        <a:bodyPr/>
        <a:lstStyle/>
        <a:p>
          <a:r>
            <a:rPr lang="en-US" altLang="zh-CN" dirty="0" err="1" smtClean="0"/>
            <a:t>Sql</a:t>
          </a:r>
          <a:r>
            <a:rPr lang="en-US" altLang="zh-CN" dirty="0" smtClean="0"/>
            <a:t> </a:t>
          </a:r>
          <a:r>
            <a:rPr lang="zh-CN" altLang="en-US" dirty="0" smtClean="0"/>
            <a:t>语句数据缓存</a:t>
          </a:r>
          <a:endParaRPr lang="zh-CN" altLang="en-US" dirty="0"/>
        </a:p>
      </dgm:t>
    </dgm:pt>
    <dgm:pt modelId="{A6419781-6FC7-4E6B-A503-C9ADA9192524}" type="parTrans" cxnId="{BE18A0D9-2ED7-4DEF-9D2D-1F8125B85351}">
      <dgm:prSet/>
      <dgm:spPr/>
      <dgm:t>
        <a:bodyPr/>
        <a:lstStyle/>
        <a:p>
          <a:endParaRPr lang="zh-CN" altLang="en-US"/>
        </a:p>
      </dgm:t>
    </dgm:pt>
    <dgm:pt modelId="{574A44A1-E7BC-4E0C-851B-BE0B597E01A0}" type="sibTrans" cxnId="{BE18A0D9-2ED7-4DEF-9D2D-1F8125B85351}">
      <dgm:prSet/>
      <dgm:spPr/>
      <dgm:t>
        <a:bodyPr/>
        <a:lstStyle/>
        <a:p>
          <a:endParaRPr lang="zh-CN" altLang="en-US"/>
        </a:p>
      </dgm:t>
    </dgm:pt>
    <dgm:pt modelId="{39370C65-7B3E-4DDC-B85F-6A01387E36F1}">
      <dgm:prSet phldrT="[文本]"/>
      <dgm:spPr/>
      <dgm:t>
        <a:bodyPr/>
        <a:lstStyle/>
        <a:p>
          <a:r>
            <a:rPr lang="zh-CN" altLang="en-US" dirty="0" smtClean="0"/>
            <a:t>自定义容器缓存</a:t>
          </a:r>
          <a:endParaRPr lang="zh-CN" altLang="en-US" dirty="0"/>
        </a:p>
      </dgm:t>
    </dgm:pt>
    <dgm:pt modelId="{80057ADB-C3A1-4637-A903-223AA9277EE3}" type="parTrans" cxnId="{D41FECEA-9BE4-4199-801B-A1006C91512F}">
      <dgm:prSet/>
      <dgm:spPr/>
      <dgm:t>
        <a:bodyPr/>
        <a:lstStyle/>
        <a:p>
          <a:endParaRPr lang="zh-CN" altLang="en-US"/>
        </a:p>
      </dgm:t>
    </dgm:pt>
    <dgm:pt modelId="{4BCA684F-F1AE-45A2-8FB6-EFA16DE92924}" type="sibTrans" cxnId="{D41FECEA-9BE4-4199-801B-A1006C91512F}">
      <dgm:prSet/>
      <dgm:spPr/>
      <dgm:t>
        <a:bodyPr/>
        <a:lstStyle/>
        <a:p>
          <a:endParaRPr lang="zh-CN" altLang="en-US"/>
        </a:p>
      </dgm:t>
    </dgm:pt>
    <dgm:pt modelId="{E0FFECD2-4A37-4A64-8759-65097EED2507}" type="pres">
      <dgm:prSet presAssocID="{BD8BAB1F-3BAD-49CC-875D-CD86CEC0380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zh-CN" altLang="en-US"/>
        </a:p>
      </dgm:t>
    </dgm:pt>
    <dgm:pt modelId="{3ECC3671-BD3E-40D9-ABDC-7F10B80B4DDF}" type="pres">
      <dgm:prSet presAssocID="{BD8BAB1F-3BAD-49CC-875D-CD86CEC03800}" presName="Name1" presStyleCnt="0"/>
      <dgm:spPr/>
    </dgm:pt>
    <dgm:pt modelId="{751823F0-A5AF-44F8-9774-9ABE35DE7A9B}" type="pres">
      <dgm:prSet presAssocID="{BD8BAB1F-3BAD-49CC-875D-CD86CEC03800}" presName="cycle" presStyleCnt="0"/>
      <dgm:spPr/>
    </dgm:pt>
    <dgm:pt modelId="{074DAD7B-B3E9-47B3-BA4A-4F0064BB5DA2}" type="pres">
      <dgm:prSet presAssocID="{BD8BAB1F-3BAD-49CC-875D-CD86CEC03800}" presName="srcNode" presStyleLbl="node1" presStyleIdx="0" presStyleCnt="3"/>
      <dgm:spPr/>
    </dgm:pt>
    <dgm:pt modelId="{6FC05341-471C-4445-B95C-5245866FAD63}" type="pres">
      <dgm:prSet presAssocID="{BD8BAB1F-3BAD-49CC-875D-CD86CEC03800}" presName="conn" presStyleLbl="parChTrans1D2" presStyleIdx="0" presStyleCnt="1"/>
      <dgm:spPr/>
      <dgm:t>
        <a:bodyPr/>
        <a:lstStyle/>
        <a:p>
          <a:endParaRPr lang="zh-CN" altLang="en-US"/>
        </a:p>
      </dgm:t>
    </dgm:pt>
    <dgm:pt modelId="{CB0055F6-5DD7-4254-81A5-173F777F20D5}" type="pres">
      <dgm:prSet presAssocID="{BD8BAB1F-3BAD-49CC-875D-CD86CEC03800}" presName="extraNode" presStyleLbl="node1" presStyleIdx="0" presStyleCnt="3"/>
      <dgm:spPr/>
    </dgm:pt>
    <dgm:pt modelId="{0126AEB5-8F91-4F7F-86A2-9B55DC0984ED}" type="pres">
      <dgm:prSet presAssocID="{BD8BAB1F-3BAD-49CC-875D-CD86CEC03800}" presName="dstNode" presStyleLbl="node1" presStyleIdx="0" presStyleCnt="3"/>
      <dgm:spPr/>
    </dgm:pt>
    <dgm:pt modelId="{7225A045-7762-49BF-BA4B-6D0966577C5F}" type="pres">
      <dgm:prSet presAssocID="{F1526D5E-9B43-4715-B2AD-1C7B0FF0C4FD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685A582-94AB-442C-9A59-31FF99C88B2A}" type="pres">
      <dgm:prSet presAssocID="{F1526D5E-9B43-4715-B2AD-1C7B0FF0C4FD}" presName="accent_1" presStyleCnt="0"/>
      <dgm:spPr/>
    </dgm:pt>
    <dgm:pt modelId="{3AD47B6D-AD4D-49D5-9933-97C8D03AAD28}" type="pres">
      <dgm:prSet presAssocID="{F1526D5E-9B43-4715-B2AD-1C7B0FF0C4FD}" presName="accentRepeatNode" presStyleLbl="solidFgAcc1" presStyleIdx="0" presStyleCnt="3"/>
      <dgm:spPr/>
    </dgm:pt>
    <dgm:pt modelId="{A3B5371E-18F4-409C-B1FE-BB92279ECB2D}" type="pres">
      <dgm:prSet presAssocID="{6F6F1A27-87CE-4189-B2AB-A83AB38E0663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E246B63-D83E-4493-BB78-5CAF01EEB310}" type="pres">
      <dgm:prSet presAssocID="{6F6F1A27-87CE-4189-B2AB-A83AB38E0663}" presName="accent_2" presStyleCnt="0"/>
      <dgm:spPr/>
    </dgm:pt>
    <dgm:pt modelId="{EBE98323-DFD4-49BE-ADFF-C49A696E8180}" type="pres">
      <dgm:prSet presAssocID="{6F6F1A27-87CE-4189-B2AB-A83AB38E0663}" presName="accentRepeatNode" presStyleLbl="solidFgAcc1" presStyleIdx="1" presStyleCnt="3"/>
      <dgm:spPr/>
    </dgm:pt>
    <dgm:pt modelId="{A55136DA-36E0-4349-AF91-1602CD2887DA}" type="pres">
      <dgm:prSet presAssocID="{39370C65-7B3E-4DDC-B85F-6A01387E36F1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DBA535A-D800-4AAF-BCF1-524FC73ABEDA}" type="pres">
      <dgm:prSet presAssocID="{39370C65-7B3E-4DDC-B85F-6A01387E36F1}" presName="accent_3" presStyleCnt="0"/>
      <dgm:spPr/>
    </dgm:pt>
    <dgm:pt modelId="{D3A506A3-54E9-45D8-8C36-D8177542E76B}" type="pres">
      <dgm:prSet presAssocID="{39370C65-7B3E-4DDC-B85F-6A01387E36F1}" presName="accentRepeatNode" presStyleLbl="solidFgAcc1" presStyleIdx="2" presStyleCnt="3"/>
      <dgm:spPr/>
    </dgm:pt>
  </dgm:ptLst>
  <dgm:cxnLst>
    <dgm:cxn modelId="{C4288BBF-8B21-4806-BF4B-09967E57EB69}" type="presOf" srcId="{BD8BAB1F-3BAD-49CC-875D-CD86CEC03800}" destId="{E0FFECD2-4A37-4A64-8759-65097EED2507}" srcOrd="0" destOrd="0" presId="urn:microsoft.com/office/officeart/2008/layout/VerticalCurvedList"/>
    <dgm:cxn modelId="{FA3F70C7-CC19-4AA2-8D5C-CDDCD3C6B655}" type="presOf" srcId="{6F6F1A27-87CE-4189-B2AB-A83AB38E0663}" destId="{A3B5371E-18F4-409C-B1FE-BB92279ECB2D}" srcOrd="0" destOrd="0" presId="urn:microsoft.com/office/officeart/2008/layout/VerticalCurvedList"/>
    <dgm:cxn modelId="{9B4B56E7-E018-4A58-A2BE-9CA798E7314D}" type="presOf" srcId="{F1526D5E-9B43-4715-B2AD-1C7B0FF0C4FD}" destId="{7225A045-7762-49BF-BA4B-6D0966577C5F}" srcOrd="0" destOrd="0" presId="urn:microsoft.com/office/officeart/2008/layout/VerticalCurvedList"/>
    <dgm:cxn modelId="{BE18A0D9-2ED7-4DEF-9D2D-1F8125B85351}" srcId="{BD8BAB1F-3BAD-49CC-875D-CD86CEC03800}" destId="{6F6F1A27-87CE-4189-B2AB-A83AB38E0663}" srcOrd="1" destOrd="0" parTransId="{A6419781-6FC7-4E6B-A503-C9ADA9192524}" sibTransId="{574A44A1-E7BC-4E0C-851B-BE0B597E01A0}"/>
    <dgm:cxn modelId="{23561984-AD10-4840-9C3A-C15AEDADFB27}" srcId="{BD8BAB1F-3BAD-49CC-875D-CD86CEC03800}" destId="{F1526D5E-9B43-4715-B2AD-1C7B0FF0C4FD}" srcOrd="0" destOrd="0" parTransId="{C0B7AB00-442C-40A7-89A2-1A8091594207}" sibTransId="{60877B6C-C2F1-4081-997D-4B2ECB730551}"/>
    <dgm:cxn modelId="{089F451B-1459-4B95-A73C-B0A89EF040AE}" type="presOf" srcId="{60877B6C-C2F1-4081-997D-4B2ECB730551}" destId="{6FC05341-471C-4445-B95C-5245866FAD63}" srcOrd="0" destOrd="0" presId="urn:microsoft.com/office/officeart/2008/layout/VerticalCurvedList"/>
    <dgm:cxn modelId="{BFB50AC4-5783-4FED-8EDB-446BF8DCAEAF}" type="presOf" srcId="{39370C65-7B3E-4DDC-B85F-6A01387E36F1}" destId="{A55136DA-36E0-4349-AF91-1602CD2887DA}" srcOrd="0" destOrd="0" presId="urn:microsoft.com/office/officeart/2008/layout/VerticalCurvedList"/>
    <dgm:cxn modelId="{D41FECEA-9BE4-4199-801B-A1006C91512F}" srcId="{BD8BAB1F-3BAD-49CC-875D-CD86CEC03800}" destId="{39370C65-7B3E-4DDC-B85F-6A01387E36F1}" srcOrd="2" destOrd="0" parTransId="{80057ADB-C3A1-4637-A903-223AA9277EE3}" sibTransId="{4BCA684F-F1AE-45A2-8FB6-EFA16DE92924}"/>
    <dgm:cxn modelId="{3CF8356E-4A34-4DA8-9999-DCDB0D48D120}" type="presParOf" srcId="{E0FFECD2-4A37-4A64-8759-65097EED2507}" destId="{3ECC3671-BD3E-40D9-ABDC-7F10B80B4DDF}" srcOrd="0" destOrd="0" presId="urn:microsoft.com/office/officeart/2008/layout/VerticalCurvedList"/>
    <dgm:cxn modelId="{EBC22C38-0EB1-45BF-8F68-15C56FB12576}" type="presParOf" srcId="{3ECC3671-BD3E-40D9-ABDC-7F10B80B4DDF}" destId="{751823F0-A5AF-44F8-9774-9ABE35DE7A9B}" srcOrd="0" destOrd="0" presId="urn:microsoft.com/office/officeart/2008/layout/VerticalCurvedList"/>
    <dgm:cxn modelId="{3551D140-BFB4-49F0-9497-CA2F0564BCB3}" type="presParOf" srcId="{751823F0-A5AF-44F8-9774-9ABE35DE7A9B}" destId="{074DAD7B-B3E9-47B3-BA4A-4F0064BB5DA2}" srcOrd="0" destOrd="0" presId="urn:microsoft.com/office/officeart/2008/layout/VerticalCurvedList"/>
    <dgm:cxn modelId="{726D3DAA-51E0-4441-92F2-B2729CAF8A67}" type="presParOf" srcId="{751823F0-A5AF-44F8-9774-9ABE35DE7A9B}" destId="{6FC05341-471C-4445-B95C-5245866FAD63}" srcOrd="1" destOrd="0" presId="urn:microsoft.com/office/officeart/2008/layout/VerticalCurvedList"/>
    <dgm:cxn modelId="{3E4845B9-8B53-40BF-8119-068A248F94B7}" type="presParOf" srcId="{751823F0-A5AF-44F8-9774-9ABE35DE7A9B}" destId="{CB0055F6-5DD7-4254-81A5-173F777F20D5}" srcOrd="2" destOrd="0" presId="urn:microsoft.com/office/officeart/2008/layout/VerticalCurvedList"/>
    <dgm:cxn modelId="{78E20FC4-88E8-412C-87C0-8CE92DAA69F1}" type="presParOf" srcId="{751823F0-A5AF-44F8-9774-9ABE35DE7A9B}" destId="{0126AEB5-8F91-4F7F-86A2-9B55DC0984ED}" srcOrd="3" destOrd="0" presId="urn:microsoft.com/office/officeart/2008/layout/VerticalCurvedList"/>
    <dgm:cxn modelId="{BBA6EEF3-D997-457F-994F-5CB7D5F25EF4}" type="presParOf" srcId="{3ECC3671-BD3E-40D9-ABDC-7F10B80B4DDF}" destId="{7225A045-7762-49BF-BA4B-6D0966577C5F}" srcOrd="1" destOrd="0" presId="urn:microsoft.com/office/officeart/2008/layout/VerticalCurvedList"/>
    <dgm:cxn modelId="{29E6621E-C02B-4CA8-B0F3-22D2420FCA03}" type="presParOf" srcId="{3ECC3671-BD3E-40D9-ABDC-7F10B80B4DDF}" destId="{C685A582-94AB-442C-9A59-31FF99C88B2A}" srcOrd="2" destOrd="0" presId="urn:microsoft.com/office/officeart/2008/layout/VerticalCurvedList"/>
    <dgm:cxn modelId="{4FA4B8AB-C2BA-49DA-B466-AB663FC2CAE5}" type="presParOf" srcId="{C685A582-94AB-442C-9A59-31FF99C88B2A}" destId="{3AD47B6D-AD4D-49D5-9933-97C8D03AAD28}" srcOrd="0" destOrd="0" presId="urn:microsoft.com/office/officeart/2008/layout/VerticalCurvedList"/>
    <dgm:cxn modelId="{2395470D-2756-4A0A-A349-D608FCB4BF0A}" type="presParOf" srcId="{3ECC3671-BD3E-40D9-ABDC-7F10B80B4DDF}" destId="{A3B5371E-18F4-409C-B1FE-BB92279ECB2D}" srcOrd="3" destOrd="0" presId="urn:microsoft.com/office/officeart/2008/layout/VerticalCurvedList"/>
    <dgm:cxn modelId="{C439A2C4-06E3-4C20-9231-77C5A78F0A0E}" type="presParOf" srcId="{3ECC3671-BD3E-40D9-ABDC-7F10B80B4DDF}" destId="{0E246B63-D83E-4493-BB78-5CAF01EEB310}" srcOrd="4" destOrd="0" presId="urn:microsoft.com/office/officeart/2008/layout/VerticalCurvedList"/>
    <dgm:cxn modelId="{A4FCEE7D-A2B8-4C39-9D26-FB3961E0B47B}" type="presParOf" srcId="{0E246B63-D83E-4493-BB78-5CAF01EEB310}" destId="{EBE98323-DFD4-49BE-ADFF-C49A696E8180}" srcOrd="0" destOrd="0" presId="urn:microsoft.com/office/officeart/2008/layout/VerticalCurvedList"/>
    <dgm:cxn modelId="{47C3F45A-E8CF-4068-BB62-315D2A1297BC}" type="presParOf" srcId="{3ECC3671-BD3E-40D9-ABDC-7F10B80B4DDF}" destId="{A55136DA-36E0-4349-AF91-1602CD2887DA}" srcOrd="5" destOrd="0" presId="urn:microsoft.com/office/officeart/2008/layout/VerticalCurvedList"/>
    <dgm:cxn modelId="{F10ABD46-1933-4E14-9D8C-88BBB0E3697D}" type="presParOf" srcId="{3ECC3671-BD3E-40D9-ABDC-7F10B80B4DDF}" destId="{6DBA535A-D800-4AAF-BCF1-524FC73ABEDA}" srcOrd="6" destOrd="0" presId="urn:microsoft.com/office/officeart/2008/layout/VerticalCurvedList"/>
    <dgm:cxn modelId="{08B83C0F-F602-41F3-918F-08E15DB933CF}" type="presParOf" srcId="{6DBA535A-D800-4AAF-BCF1-524FC73ABEDA}" destId="{D3A506A3-54E9-45D8-8C36-D8177542E76B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E4C54A3A-01A4-403D-BBFD-88978E00ECE9}" type="doc">
      <dgm:prSet loTypeId="urn:microsoft.com/office/officeart/2005/8/layout/vList4#1" loCatId="list" qsTypeId="urn:microsoft.com/office/officeart/2005/8/quickstyle/3d2" qsCatId="3D" csTypeId="urn:microsoft.com/office/officeart/2005/8/colors/colorful3" csCatId="colorful" phldr="1"/>
      <dgm:spPr/>
      <dgm:t>
        <a:bodyPr/>
        <a:lstStyle/>
        <a:p>
          <a:endParaRPr lang="zh-CN" altLang="en-US"/>
        </a:p>
      </dgm:t>
    </dgm:pt>
    <dgm:pt modelId="{FAA4D6B7-D6F2-4790-86D9-7B6668377FC3}">
      <dgm:prSet phldrT="[文本]"/>
      <dgm:spPr/>
      <dgm:t>
        <a:bodyPr/>
        <a:lstStyle/>
        <a:p>
          <a:r>
            <a:rPr lang="zh-CN" altLang="en-US" dirty="0" smtClean="0"/>
            <a:t>缓存对象表可配置</a:t>
          </a:r>
          <a:endParaRPr lang="zh-CN" altLang="en-US" dirty="0"/>
        </a:p>
      </dgm:t>
    </dgm:pt>
    <dgm:pt modelId="{AD7CE3BB-D8AB-42D0-9024-C7980F0A4453}" type="parTrans" cxnId="{4531A683-9BEB-474D-B9CF-6EB52A16DA70}">
      <dgm:prSet/>
      <dgm:spPr/>
      <dgm:t>
        <a:bodyPr/>
        <a:lstStyle/>
        <a:p>
          <a:endParaRPr lang="zh-CN" altLang="en-US"/>
        </a:p>
      </dgm:t>
    </dgm:pt>
    <dgm:pt modelId="{9E9B07DB-F8C8-4585-B7AA-964D29191CC3}" type="sibTrans" cxnId="{4531A683-9BEB-474D-B9CF-6EB52A16DA70}">
      <dgm:prSet/>
      <dgm:spPr/>
      <dgm:t>
        <a:bodyPr/>
        <a:lstStyle/>
        <a:p>
          <a:endParaRPr lang="zh-CN" altLang="en-US"/>
        </a:p>
      </dgm:t>
    </dgm:pt>
    <dgm:pt modelId="{F942790F-A549-4D4B-97A8-DCDA67C74A5A}">
      <dgm:prSet phldrT="[文本]"/>
      <dgm:spPr/>
      <dgm:t>
        <a:bodyPr/>
        <a:lstStyle/>
        <a:p>
          <a:r>
            <a:rPr lang="zh-CN" altLang="en-US" dirty="0" smtClean="0"/>
            <a:t>缓存主键时间可配置</a:t>
          </a:r>
          <a:endParaRPr lang="zh-CN" altLang="en-US" dirty="0"/>
        </a:p>
      </dgm:t>
    </dgm:pt>
    <dgm:pt modelId="{8C2B84B7-BCA4-469B-B0DD-02E0DC1A8BFE}" type="parTrans" cxnId="{2CF4CD87-1F48-457F-B451-8ADB8A9315A7}">
      <dgm:prSet/>
      <dgm:spPr/>
      <dgm:t>
        <a:bodyPr/>
        <a:lstStyle/>
        <a:p>
          <a:endParaRPr lang="zh-CN" altLang="en-US"/>
        </a:p>
      </dgm:t>
    </dgm:pt>
    <dgm:pt modelId="{5F8E5B31-220D-4F2D-97B8-008E92F6797F}" type="sibTrans" cxnId="{2CF4CD87-1F48-457F-B451-8ADB8A9315A7}">
      <dgm:prSet/>
      <dgm:spPr/>
      <dgm:t>
        <a:bodyPr/>
        <a:lstStyle/>
        <a:p>
          <a:endParaRPr lang="zh-CN" altLang="en-US"/>
        </a:p>
      </dgm:t>
    </dgm:pt>
    <dgm:pt modelId="{C40DF02D-5F0E-40C3-887F-102A4185FECA}">
      <dgm:prSet phldrT="[文本]"/>
      <dgm:spPr/>
      <dgm:t>
        <a:bodyPr/>
        <a:lstStyle/>
        <a:p>
          <a:r>
            <a:rPr lang="zh-CN" altLang="en-US" dirty="0" smtClean="0"/>
            <a:t>缓存</a:t>
          </a:r>
          <a:r>
            <a:rPr lang="en-US" altLang="zh-CN" dirty="0" smtClean="0"/>
            <a:t>SQL</a:t>
          </a:r>
          <a:r>
            <a:rPr lang="zh-CN" altLang="en-US" dirty="0" smtClean="0"/>
            <a:t>时间可配置</a:t>
          </a:r>
          <a:endParaRPr lang="zh-CN" altLang="en-US" dirty="0"/>
        </a:p>
      </dgm:t>
    </dgm:pt>
    <dgm:pt modelId="{0FEE7155-0029-4D6D-9C04-DC5AAA773710}" type="parTrans" cxnId="{11383EB5-89E2-4C2D-9C67-7C8EA67B52CA}">
      <dgm:prSet/>
      <dgm:spPr/>
      <dgm:t>
        <a:bodyPr/>
        <a:lstStyle/>
        <a:p>
          <a:endParaRPr lang="zh-CN" altLang="en-US"/>
        </a:p>
      </dgm:t>
    </dgm:pt>
    <dgm:pt modelId="{6CB2A4A9-B2A3-416A-857C-1FA1F106985B}" type="sibTrans" cxnId="{11383EB5-89E2-4C2D-9C67-7C8EA67B52CA}">
      <dgm:prSet/>
      <dgm:spPr/>
      <dgm:t>
        <a:bodyPr/>
        <a:lstStyle/>
        <a:p>
          <a:endParaRPr lang="zh-CN" altLang="en-US"/>
        </a:p>
      </dgm:t>
    </dgm:pt>
    <dgm:pt modelId="{0C0FD134-7314-419D-AEAA-59064230123A}" type="pres">
      <dgm:prSet presAssocID="{E4C54A3A-01A4-403D-BBFD-88978E00ECE9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CEC88A05-B4AA-47DB-A8A3-53283676B88A}" type="pres">
      <dgm:prSet presAssocID="{FAA4D6B7-D6F2-4790-86D9-7B6668377FC3}" presName="comp" presStyleCnt="0"/>
      <dgm:spPr/>
    </dgm:pt>
    <dgm:pt modelId="{593EC09D-9794-43AE-8BED-EACAB00E8F6C}" type="pres">
      <dgm:prSet presAssocID="{FAA4D6B7-D6F2-4790-86D9-7B6668377FC3}" presName="box" presStyleLbl="node1" presStyleIdx="0" presStyleCnt="3"/>
      <dgm:spPr/>
      <dgm:t>
        <a:bodyPr/>
        <a:lstStyle/>
        <a:p>
          <a:endParaRPr lang="zh-CN" altLang="en-US"/>
        </a:p>
      </dgm:t>
    </dgm:pt>
    <dgm:pt modelId="{13688BDA-D286-4770-BE20-9427E1D6B339}" type="pres">
      <dgm:prSet presAssocID="{FAA4D6B7-D6F2-4790-86D9-7B6668377FC3}" presName="img" presStyleLbl="fgImgPlace1" presStyleIdx="0" presStyleCnt="3"/>
      <dgm:spPr/>
    </dgm:pt>
    <dgm:pt modelId="{B222A8AA-EB42-4FBC-8236-C2E59AA0F727}" type="pres">
      <dgm:prSet presAssocID="{FAA4D6B7-D6F2-4790-86D9-7B6668377FC3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0A5E26F-AE63-45E4-A31C-A902FCBC3FE7}" type="pres">
      <dgm:prSet presAssocID="{9E9B07DB-F8C8-4585-B7AA-964D29191CC3}" presName="spacer" presStyleCnt="0"/>
      <dgm:spPr/>
    </dgm:pt>
    <dgm:pt modelId="{91B8B45E-62D8-4A62-9284-DB42A145CE05}" type="pres">
      <dgm:prSet presAssocID="{F942790F-A549-4D4B-97A8-DCDA67C74A5A}" presName="comp" presStyleCnt="0"/>
      <dgm:spPr/>
    </dgm:pt>
    <dgm:pt modelId="{C7D3381C-0657-4F7A-96E9-75A66D4E6CD1}" type="pres">
      <dgm:prSet presAssocID="{F942790F-A549-4D4B-97A8-DCDA67C74A5A}" presName="box" presStyleLbl="node1" presStyleIdx="1" presStyleCnt="3"/>
      <dgm:spPr/>
      <dgm:t>
        <a:bodyPr/>
        <a:lstStyle/>
        <a:p>
          <a:endParaRPr lang="zh-CN" altLang="en-US"/>
        </a:p>
      </dgm:t>
    </dgm:pt>
    <dgm:pt modelId="{6288F01F-C924-4037-8B37-0F3F0187A128}" type="pres">
      <dgm:prSet presAssocID="{F942790F-A549-4D4B-97A8-DCDA67C74A5A}" presName="img" presStyleLbl="fgImgPlace1" presStyleIdx="1" presStyleCnt="3"/>
      <dgm:spPr/>
    </dgm:pt>
    <dgm:pt modelId="{8B6AB3E1-0CE6-4484-975D-93B3BB64B731}" type="pres">
      <dgm:prSet presAssocID="{F942790F-A549-4D4B-97A8-DCDA67C74A5A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F226F25-893A-43D9-BCB0-E2FCC2A35C2C}" type="pres">
      <dgm:prSet presAssocID="{5F8E5B31-220D-4F2D-97B8-008E92F6797F}" presName="spacer" presStyleCnt="0"/>
      <dgm:spPr/>
    </dgm:pt>
    <dgm:pt modelId="{3CA7A233-6722-431B-80DD-9151263B9BAD}" type="pres">
      <dgm:prSet presAssocID="{C40DF02D-5F0E-40C3-887F-102A4185FECA}" presName="comp" presStyleCnt="0"/>
      <dgm:spPr/>
    </dgm:pt>
    <dgm:pt modelId="{D2693B5D-E925-4815-B608-C4FA9755DF1F}" type="pres">
      <dgm:prSet presAssocID="{C40DF02D-5F0E-40C3-887F-102A4185FECA}" presName="box" presStyleLbl="node1" presStyleIdx="2" presStyleCnt="3"/>
      <dgm:spPr/>
      <dgm:t>
        <a:bodyPr/>
        <a:lstStyle/>
        <a:p>
          <a:endParaRPr lang="zh-CN" altLang="en-US"/>
        </a:p>
      </dgm:t>
    </dgm:pt>
    <dgm:pt modelId="{C42E9402-A0F4-4550-A50B-0EC4A0A313F3}" type="pres">
      <dgm:prSet presAssocID="{C40DF02D-5F0E-40C3-887F-102A4185FECA}" presName="img" presStyleLbl="fgImgPlace1" presStyleIdx="2" presStyleCnt="3"/>
      <dgm:spPr/>
    </dgm:pt>
    <dgm:pt modelId="{BAA19BE6-6B62-4A45-81C2-47424EC35079}" type="pres">
      <dgm:prSet presAssocID="{C40DF02D-5F0E-40C3-887F-102A4185FECA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FF3AFAC2-2B77-4F7B-B631-D49825F2DDAA}" type="presOf" srcId="{C40DF02D-5F0E-40C3-887F-102A4185FECA}" destId="{D2693B5D-E925-4815-B608-C4FA9755DF1F}" srcOrd="0" destOrd="0" presId="urn:microsoft.com/office/officeart/2005/8/layout/vList4#1"/>
    <dgm:cxn modelId="{5626942F-15C8-4AFB-9AE8-9438A43358FF}" type="presOf" srcId="{E4C54A3A-01A4-403D-BBFD-88978E00ECE9}" destId="{0C0FD134-7314-419D-AEAA-59064230123A}" srcOrd="0" destOrd="0" presId="urn:microsoft.com/office/officeart/2005/8/layout/vList4#1"/>
    <dgm:cxn modelId="{439061DE-25AD-400B-992E-80C0FA845220}" type="presOf" srcId="{FAA4D6B7-D6F2-4790-86D9-7B6668377FC3}" destId="{593EC09D-9794-43AE-8BED-EACAB00E8F6C}" srcOrd="0" destOrd="0" presId="urn:microsoft.com/office/officeart/2005/8/layout/vList4#1"/>
    <dgm:cxn modelId="{12BF5074-6845-4B2A-A703-A0C64941397D}" type="presOf" srcId="{C40DF02D-5F0E-40C3-887F-102A4185FECA}" destId="{BAA19BE6-6B62-4A45-81C2-47424EC35079}" srcOrd="1" destOrd="0" presId="urn:microsoft.com/office/officeart/2005/8/layout/vList4#1"/>
    <dgm:cxn modelId="{03852AD8-AB0D-4916-B285-CC7646D49D0C}" type="presOf" srcId="{F942790F-A549-4D4B-97A8-DCDA67C74A5A}" destId="{8B6AB3E1-0CE6-4484-975D-93B3BB64B731}" srcOrd="1" destOrd="0" presId="urn:microsoft.com/office/officeart/2005/8/layout/vList4#1"/>
    <dgm:cxn modelId="{4531A683-9BEB-474D-B9CF-6EB52A16DA70}" srcId="{E4C54A3A-01A4-403D-BBFD-88978E00ECE9}" destId="{FAA4D6B7-D6F2-4790-86D9-7B6668377FC3}" srcOrd="0" destOrd="0" parTransId="{AD7CE3BB-D8AB-42D0-9024-C7980F0A4453}" sibTransId="{9E9B07DB-F8C8-4585-B7AA-964D29191CC3}"/>
    <dgm:cxn modelId="{E620A2B8-9888-4A26-A85D-0A5F8803AF54}" type="presOf" srcId="{F942790F-A549-4D4B-97A8-DCDA67C74A5A}" destId="{C7D3381C-0657-4F7A-96E9-75A66D4E6CD1}" srcOrd="0" destOrd="0" presId="urn:microsoft.com/office/officeart/2005/8/layout/vList4#1"/>
    <dgm:cxn modelId="{2CF4CD87-1F48-457F-B451-8ADB8A9315A7}" srcId="{E4C54A3A-01A4-403D-BBFD-88978E00ECE9}" destId="{F942790F-A549-4D4B-97A8-DCDA67C74A5A}" srcOrd="1" destOrd="0" parTransId="{8C2B84B7-BCA4-469B-B0DD-02E0DC1A8BFE}" sibTransId="{5F8E5B31-220D-4F2D-97B8-008E92F6797F}"/>
    <dgm:cxn modelId="{1CA05532-AFD4-4222-ABF3-EA9FD85ECB3B}" type="presOf" srcId="{FAA4D6B7-D6F2-4790-86D9-7B6668377FC3}" destId="{B222A8AA-EB42-4FBC-8236-C2E59AA0F727}" srcOrd="1" destOrd="0" presId="urn:microsoft.com/office/officeart/2005/8/layout/vList4#1"/>
    <dgm:cxn modelId="{11383EB5-89E2-4C2D-9C67-7C8EA67B52CA}" srcId="{E4C54A3A-01A4-403D-BBFD-88978E00ECE9}" destId="{C40DF02D-5F0E-40C3-887F-102A4185FECA}" srcOrd="2" destOrd="0" parTransId="{0FEE7155-0029-4D6D-9C04-DC5AAA773710}" sibTransId="{6CB2A4A9-B2A3-416A-857C-1FA1F106985B}"/>
    <dgm:cxn modelId="{41F22791-A8CD-496C-BBD5-559C00268128}" type="presParOf" srcId="{0C0FD134-7314-419D-AEAA-59064230123A}" destId="{CEC88A05-B4AA-47DB-A8A3-53283676B88A}" srcOrd="0" destOrd="0" presId="urn:microsoft.com/office/officeart/2005/8/layout/vList4#1"/>
    <dgm:cxn modelId="{CBCFE304-56A2-41D9-B632-6ED810FFAD74}" type="presParOf" srcId="{CEC88A05-B4AA-47DB-A8A3-53283676B88A}" destId="{593EC09D-9794-43AE-8BED-EACAB00E8F6C}" srcOrd="0" destOrd="0" presId="urn:microsoft.com/office/officeart/2005/8/layout/vList4#1"/>
    <dgm:cxn modelId="{BD03F399-6D4B-4B88-9A5B-6773A28B5F29}" type="presParOf" srcId="{CEC88A05-B4AA-47DB-A8A3-53283676B88A}" destId="{13688BDA-D286-4770-BE20-9427E1D6B339}" srcOrd="1" destOrd="0" presId="urn:microsoft.com/office/officeart/2005/8/layout/vList4#1"/>
    <dgm:cxn modelId="{A03C9EF6-EFC3-4EAD-9DE8-9FCC77315673}" type="presParOf" srcId="{CEC88A05-B4AA-47DB-A8A3-53283676B88A}" destId="{B222A8AA-EB42-4FBC-8236-C2E59AA0F727}" srcOrd="2" destOrd="0" presId="urn:microsoft.com/office/officeart/2005/8/layout/vList4#1"/>
    <dgm:cxn modelId="{3919D00F-D4EC-49E3-BBFF-B591B044985A}" type="presParOf" srcId="{0C0FD134-7314-419D-AEAA-59064230123A}" destId="{20A5E26F-AE63-45E4-A31C-A902FCBC3FE7}" srcOrd="1" destOrd="0" presId="urn:microsoft.com/office/officeart/2005/8/layout/vList4#1"/>
    <dgm:cxn modelId="{412AFB25-740B-4857-B42E-6D98BB4ABDA2}" type="presParOf" srcId="{0C0FD134-7314-419D-AEAA-59064230123A}" destId="{91B8B45E-62D8-4A62-9284-DB42A145CE05}" srcOrd="2" destOrd="0" presId="urn:microsoft.com/office/officeart/2005/8/layout/vList4#1"/>
    <dgm:cxn modelId="{D06B0AB6-1211-41B1-80E1-373552F0A0D9}" type="presParOf" srcId="{91B8B45E-62D8-4A62-9284-DB42A145CE05}" destId="{C7D3381C-0657-4F7A-96E9-75A66D4E6CD1}" srcOrd="0" destOrd="0" presId="urn:microsoft.com/office/officeart/2005/8/layout/vList4#1"/>
    <dgm:cxn modelId="{83F40E9A-B9BC-4820-9575-63A84C95EA26}" type="presParOf" srcId="{91B8B45E-62D8-4A62-9284-DB42A145CE05}" destId="{6288F01F-C924-4037-8B37-0F3F0187A128}" srcOrd="1" destOrd="0" presId="urn:microsoft.com/office/officeart/2005/8/layout/vList4#1"/>
    <dgm:cxn modelId="{DA239EB3-CBAC-487E-8CCB-D336676B1001}" type="presParOf" srcId="{91B8B45E-62D8-4A62-9284-DB42A145CE05}" destId="{8B6AB3E1-0CE6-4484-975D-93B3BB64B731}" srcOrd="2" destOrd="0" presId="urn:microsoft.com/office/officeart/2005/8/layout/vList4#1"/>
    <dgm:cxn modelId="{F1EF1389-7881-440C-95C1-4419AF7E6135}" type="presParOf" srcId="{0C0FD134-7314-419D-AEAA-59064230123A}" destId="{CF226F25-893A-43D9-BCB0-E2FCC2A35C2C}" srcOrd="3" destOrd="0" presId="urn:microsoft.com/office/officeart/2005/8/layout/vList4#1"/>
    <dgm:cxn modelId="{9DB22192-0B0B-40D6-A62E-3F0A3BC4F73F}" type="presParOf" srcId="{0C0FD134-7314-419D-AEAA-59064230123A}" destId="{3CA7A233-6722-431B-80DD-9151263B9BAD}" srcOrd="4" destOrd="0" presId="urn:microsoft.com/office/officeart/2005/8/layout/vList4#1"/>
    <dgm:cxn modelId="{23FED77A-AC6A-47AE-91DA-76F96D76E5B8}" type="presParOf" srcId="{3CA7A233-6722-431B-80DD-9151263B9BAD}" destId="{D2693B5D-E925-4815-B608-C4FA9755DF1F}" srcOrd="0" destOrd="0" presId="urn:microsoft.com/office/officeart/2005/8/layout/vList4#1"/>
    <dgm:cxn modelId="{11147A8D-5A7A-4EB6-B2CF-63A072B1F33A}" type="presParOf" srcId="{3CA7A233-6722-431B-80DD-9151263B9BAD}" destId="{C42E9402-A0F4-4550-A50B-0EC4A0A313F3}" srcOrd="1" destOrd="0" presId="urn:microsoft.com/office/officeart/2005/8/layout/vList4#1"/>
    <dgm:cxn modelId="{C2C36DEE-B7E2-4A59-AAD2-1213BB26165E}" type="presParOf" srcId="{3CA7A233-6722-431B-80DD-9151263B9BAD}" destId="{BAA19BE6-6B62-4A45-81C2-47424EC35079}" srcOrd="2" destOrd="0" presId="urn:microsoft.com/office/officeart/2005/8/layout/vList4#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642F610F-EECA-4039-9CCE-BD52B1157751}" type="doc">
      <dgm:prSet loTypeId="urn:microsoft.com/office/officeart/2008/layout/VerticalCurvedList" loCatId="list" qsTypeId="urn:microsoft.com/office/officeart/2005/8/quickstyle/3d3" qsCatId="3D" csTypeId="urn:microsoft.com/office/officeart/2005/8/colors/colorful3" csCatId="colorful" phldr="1"/>
      <dgm:spPr/>
      <dgm:t>
        <a:bodyPr/>
        <a:lstStyle/>
        <a:p>
          <a:endParaRPr lang="zh-CN" altLang="en-US"/>
        </a:p>
      </dgm:t>
    </dgm:pt>
    <dgm:pt modelId="{EEC1492C-D814-4378-9FD8-EA8EA6D48285}">
      <dgm:prSet phldrT="[文本]"/>
      <dgm:spPr/>
      <dgm:t>
        <a:bodyPr/>
        <a:lstStyle/>
        <a:p>
          <a:r>
            <a:rPr lang="zh-CN" altLang="en-US" dirty="0" smtClean="0"/>
            <a:t>按子系统分库</a:t>
          </a:r>
          <a:endParaRPr lang="zh-CN" altLang="en-US" dirty="0"/>
        </a:p>
      </dgm:t>
    </dgm:pt>
    <dgm:pt modelId="{90E14D1A-D980-4834-832F-B42ACA91D352}" type="parTrans" cxnId="{26907D83-9AC4-4575-9B87-0BCF0C619BFC}">
      <dgm:prSet/>
      <dgm:spPr/>
      <dgm:t>
        <a:bodyPr/>
        <a:lstStyle/>
        <a:p>
          <a:endParaRPr lang="zh-CN" altLang="en-US"/>
        </a:p>
      </dgm:t>
    </dgm:pt>
    <dgm:pt modelId="{AAC97B29-48C9-4F5C-9C93-23CD83261269}" type="sibTrans" cxnId="{26907D83-9AC4-4575-9B87-0BCF0C619BFC}">
      <dgm:prSet/>
      <dgm:spPr/>
      <dgm:t>
        <a:bodyPr/>
        <a:lstStyle/>
        <a:p>
          <a:endParaRPr lang="zh-CN" altLang="en-US"/>
        </a:p>
      </dgm:t>
    </dgm:pt>
    <dgm:pt modelId="{5103344A-4EC5-443A-B313-7B80DE5D0A9F}">
      <dgm:prSet phldrT="[文本]"/>
      <dgm:spPr/>
      <dgm:t>
        <a:bodyPr/>
        <a:lstStyle/>
        <a:p>
          <a:r>
            <a:rPr lang="zh-CN" altLang="en-US" dirty="0" smtClean="0"/>
            <a:t>读写分离</a:t>
          </a:r>
          <a:endParaRPr lang="zh-CN" altLang="en-US" dirty="0"/>
        </a:p>
      </dgm:t>
    </dgm:pt>
    <dgm:pt modelId="{493B9275-DF22-4228-85D0-DBF17A7096DF}" type="parTrans" cxnId="{52AC684F-B591-49CA-8295-BD2D3987B09D}">
      <dgm:prSet/>
      <dgm:spPr/>
      <dgm:t>
        <a:bodyPr/>
        <a:lstStyle/>
        <a:p>
          <a:endParaRPr lang="zh-CN" altLang="en-US"/>
        </a:p>
      </dgm:t>
    </dgm:pt>
    <dgm:pt modelId="{79D8B436-5B86-40F7-A4AB-B9927523F704}" type="sibTrans" cxnId="{52AC684F-B591-49CA-8295-BD2D3987B09D}">
      <dgm:prSet/>
      <dgm:spPr/>
      <dgm:t>
        <a:bodyPr/>
        <a:lstStyle/>
        <a:p>
          <a:endParaRPr lang="zh-CN" altLang="en-US"/>
        </a:p>
      </dgm:t>
    </dgm:pt>
    <dgm:pt modelId="{C6959E6D-0AC0-41A1-A054-D0272AA72AA6}">
      <dgm:prSet phldrT="[文本]"/>
      <dgm:spPr/>
      <dgm:t>
        <a:bodyPr/>
        <a:lstStyle/>
        <a:p>
          <a:r>
            <a:rPr lang="zh-CN" altLang="en-US" dirty="0" smtClean="0"/>
            <a:t>表拆分（历史数据拆分）</a:t>
          </a:r>
          <a:endParaRPr lang="zh-CN" altLang="en-US" dirty="0"/>
        </a:p>
      </dgm:t>
    </dgm:pt>
    <dgm:pt modelId="{66067C1B-C978-448C-94A1-B43D5A6F1CFA}" type="parTrans" cxnId="{9195F898-1557-49A2-A295-D009F06C36D3}">
      <dgm:prSet/>
      <dgm:spPr/>
      <dgm:t>
        <a:bodyPr/>
        <a:lstStyle/>
        <a:p>
          <a:endParaRPr lang="zh-CN" altLang="en-US"/>
        </a:p>
      </dgm:t>
    </dgm:pt>
    <dgm:pt modelId="{EC41176E-E2B8-4AEB-A5B0-2FAD5051E345}" type="sibTrans" cxnId="{9195F898-1557-49A2-A295-D009F06C36D3}">
      <dgm:prSet/>
      <dgm:spPr/>
      <dgm:t>
        <a:bodyPr/>
        <a:lstStyle/>
        <a:p>
          <a:endParaRPr lang="zh-CN" altLang="en-US"/>
        </a:p>
      </dgm:t>
    </dgm:pt>
    <dgm:pt modelId="{137EE4A6-3AF0-4D33-9AB8-8F7C85714E75}">
      <dgm:prSet phldrT="[文本]"/>
      <dgm:spPr/>
      <dgm:t>
        <a:bodyPr/>
        <a:lstStyle/>
        <a:p>
          <a:r>
            <a:rPr lang="zh-CN" altLang="en-US" dirty="0" smtClean="0"/>
            <a:t>查询限定时间</a:t>
          </a:r>
          <a:endParaRPr lang="zh-CN" altLang="en-US" dirty="0"/>
        </a:p>
      </dgm:t>
    </dgm:pt>
    <dgm:pt modelId="{74048C34-EB1B-4598-8CBF-D5A16FD2F38E}" type="parTrans" cxnId="{CCC5DC31-6F2C-4680-B560-AC91E6E4FC4F}">
      <dgm:prSet/>
      <dgm:spPr/>
      <dgm:t>
        <a:bodyPr/>
        <a:lstStyle/>
        <a:p>
          <a:endParaRPr lang="zh-CN" altLang="en-US"/>
        </a:p>
      </dgm:t>
    </dgm:pt>
    <dgm:pt modelId="{E55125E8-CDE9-400A-A773-B7BDAA36AA38}" type="sibTrans" cxnId="{CCC5DC31-6F2C-4680-B560-AC91E6E4FC4F}">
      <dgm:prSet/>
      <dgm:spPr/>
      <dgm:t>
        <a:bodyPr/>
        <a:lstStyle/>
        <a:p>
          <a:endParaRPr lang="zh-CN" altLang="en-US"/>
        </a:p>
      </dgm:t>
    </dgm:pt>
    <dgm:pt modelId="{071AB687-8529-499B-8271-A1F471F47487}" type="pres">
      <dgm:prSet presAssocID="{642F610F-EECA-4039-9CCE-BD52B1157751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zh-CN" altLang="en-US"/>
        </a:p>
      </dgm:t>
    </dgm:pt>
    <dgm:pt modelId="{7E08DD8D-AB6F-4304-B1B9-C7796708CD1B}" type="pres">
      <dgm:prSet presAssocID="{642F610F-EECA-4039-9CCE-BD52B1157751}" presName="Name1" presStyleCnt="0"/>
      <dgm:spPr/>
    </dgm:pt>
    <dgm:pt modelId="{C96867AB-77C4-4FB9-B5C3-4501796A806A}" type="pres">
      <dgm:prSet presAssocID="{642F610F-EECA-4039-9CCE-BD52B1157751}" presName="cycle" presStyleCnt="0"/>
      <dgm:spPr/>
    </dgm:pt>
    <dgm:pt modelId="{EAE784AF-83CB-4BB1-A059-6D128A075625}" type="pres">
      <dgm:prSet presAssocID="{642F610F-EECA-4039-9CCE-BD52B1157751}" presName="srcNode" presStyleLbl="node1" presStyleIdx="0" presStyleCnt="4"/>
      <dgm:spPr/>
    </dgm:pt>
    <dgm:pt modelId="{33953CE0-9055-4FFC-92C8-C54CAD5A9608}" type="pres">
      <dgm:prSet presAssocID="{642F610F-EECA-4039-9CCE-BD52B1157751}" presName="conn" presStyleLbl="parChTrans1D2" presStyleIdx="0" presStyleCnt="1"/>
      <dgm:spPr/>
      <dgm:t>
        <a:bodyPr/>
        <a:lstStyle/>
        <a:p>
          <a:endParaRPr lang="zh-CN" altLang="en-US"/>
        </a:p>
      </dgm:t>
    </dgm:pt>
    <dgm:pt modelId="{CD713767-A80F-4600-B249-B5523DD4792E}" type="pres">
      <dgm:prSet presAssocID="{642F610F-EECA-4039-9CCE-BD52B1157751}" presName="extraNode" presStyleLbl="node1" presStyleIdx="0" presStyleCnt="4"/>
      <dgm:spPr/>
    </dgm:pt>
    <dgm:pt modelId="{66186E18-975F-4503-B9D0-7B75A6BE583B}" type="pres">
      <dgm:prSet presAssocID="{642F610F-EECA-4039-9CCE-BD52B1157751}" presName="dstNode" presStyleLbl="node1" presStyleIdx="0" presStyleCnt="4"/>
      <dgm:spPr/>
    </dgm:pt>
    <dgm:pt modelId="{B385D05A-18C7-4F9E-90DA-98B69C97BEF6}" type="pres">
      <dgm:prSet presAssocID="{EEC1492C-D814-4378-9FD8-EA8EA6D48285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0B7317B-0990-4CB1-9411-10BAA7BEB248}" type="pres">
      <dgm:prSet presAssocID="{EEC1492C-D814-4378-9FD8-EA8EA6D48285}" presName="accent_1" presStyleCnt="0"/>
      <dgm:spPr/>
    </dgm:pt>
    <dgm:pt modelId="{66793021-24BF-474F-9F48-E7B46FF52D42}" type="pres">
      <dgm:prSet presAssocID="{EEC1492C-D814-4378-9FD8-EA8EA6D48285}" presName="accentRepeatNode" presStyleLbl="solidFgAcc1" presStyleIdx="0" presStyleCnt="4"/>
      <dgm:spPr/>
    </dgm:pt>
    <dgm:pt modelId="{88B08629-CF2E-4CCA-BF9E-1351DEA67087}" type="pres">
      <dgm:prSet presAssocID="{5103344A-4EC5-443A-B313-7B80DE5D0A9F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CC2DBDE-92BE-4CD2-9752-81665191524F}" type="pres">
      <dgm:prSet presAssocID="{5103344A-4EC5-443A-B313-7B80DE5D0A9F}" presName="accent_2" presStyleCnt="0"/>
      <dgm:spPr/>
    </dgm:pt>
    <dgm:pt modelId="{AA87CDE0-21D2-42E7-8A5D-F28F13336FA8}" type="pres">
      <dgm:prSet presAssocID="{5103344A-4EC5-443A-B313-7B80DE5D0A9F}" presName="accentRepeatNode" presStyleLbl="solidFgAcc1" presStyleIdx="1" presStyleCnt="4"/>
      <dgm:spPr/>
    </dgm:pt>
    <dgm:pt modelId="{61FA2623-CFE2-4475-879B-32B0274D6E79}" type="pres">
      <dgm:prSet presAssocID="{C6959E6D-0AC0-41A1-A054-D0272AA72AA6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806D4F1-7684-434B-84BB-643ABA6A16E5}" type="pres">
      <dgm:prSet presAssocID="{C6959E6D-0AC0-41A1-A054-D0272AA72AA6}" presName="accent_3" presStyleCnt="0"/>
      <dgm:spPr/>
    </dgm:pt>
    <dgm:pt modelId="{E0EBE8F4-4B54-4A1E-8E79-349A4A2D85FB}" type="pres">
      <dgm:prSet presAssocID="{C6959E6D-0AC0-41A1-A054-D0272AA72AA6}" presName="accentRepeatNode" presStyleLbl="solidFgAcc1" presStyleIdx="2" presStyleCnt="4"/>
      <dgm:spPr/>
    </dgm:pt>
    <dgm:pt modelId="{B6C54709-738F-485E-B694-0B7E339221E8}" type="pres">
      <dgm:prSet presAssocID="{137EE4A6-3AF0-4D33-9AB8-8F7C85714E75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424C351-9317-4B3A-A205-9EAFF2E236C8}" type="pres">
      <dgm:prSet presAssocID="{137EE4A6-3AF0-4D33-9AB8-8F7C85714E75}" presName="accent_4" presStyleCnt="0"/>
      <dgm:spPr/>
    </dgm:pt>
    <dgm:pt modelId="{4C480305-3E0D-46E3-A8A8-5C00E31858A9}" type="pres">
      <dgm:prSet presAssocID="{137EE4A6-3AF0-4D33-9AB8-8F7C85714E75}" presName="accentRepeatNode" presStyleLbl="solidFgAcc1" presStyleIdx="3" presStyleCnt="4"/>
      <dgm:spPr/>
    </dgm:pt>
  </dgm:ptLst>
  <dgm:cxnLst>
    <dgm:cxn modelId="{2A34314A-451F-4CB8-A56C-6A5E1230BB0D}" type="presOf" srcId="{EEC1492C-D814-4378-9FD8-EA8EA6D48285}" destId="{B385D05A-18C7-4F9E-90DA-98B69C97BEF6}" srcOrd="0" destOrd="0" presId="urn:microsoft.com/office/officeart/2008/layout/VerticalCurvedList"/>
    <dgm:cxn modelId="{CCC5DC31-6F2C-4680-B560-AC91E6E4FC4F}" srcId="{642F610F-EECA-4039-9CCE-BD52B1157751}" destId="{137EE4A6-3AF0-4D33-9AB8-8F7C85714E75}" srcOrd="3" destOrd="0" parTransId="{74048C34-EB1B-4598-8CBF-D5A16FD2F38E}" sibTransId="{E55125E8-CDE9-400A-A773-B7BDAA36AA38}"/>
    <dgm:cxn modelId="{9195F898-1557-49A2-A295-D009F06C36D3}" srcId="{642F610F-EECA-4039-9CCE-BD52B1157751}" destId="{C6959E6D-0AC0-41A1-A054-D0272AA72AA6}" srcOrd="2" destOrd="0" parTransId="{66067C1B-C978-448C-94A1-B43D5A6F1CFA}" sibTransId="{EC41176E-E2B8-4AEB-A5B0-2FAD5051E345}"/>
    <dgm:cxn modelId="{A30395AE-A428-4ABF-8606-61FFAE768296}" type="presOf" srcId="{5103344A-4EC5-443A-B313-7B80DE5D0A9F}" destId="{88B08629-CF2E-4CCA-BF9E-1351DEA67087}" srcOrd="0" destOrd="0" presId="urn:microsoft.com/office/officeart/2008/layout/VerticalCurvedList"/>
    <dgm:cxn modelId="{F090CBB7-6A38-4352-8EB6-ED3A06A68D7B}" type="presOf" srcId="{137EE4A6-3AF0-4D33-9AB8-8F7C85714E75}" destId="{B6C54709-738F-485E-B694-0B7E339221E8}" srcOrd="0" destOrd="0" presId="urn:microsoft.com/office/officeart/2008/layout/VerticalCurvedList"/>
    <dgm:cxn modelId="{52AC684F-B591-49CA-8295-BD2D3987B09D}" srcId="{642F610F-EECA-4039-9CCE-BD52B1157751}" destId="{5103344A-4EC5-443A-B313-7B80DE5D0A9F}" srcOrd="1" destOrd="0" parTransId="{493B9275-DF22-4228-85D0-DBF17A7096DF}" sibTransId="{79D8B436-5B86-40F7-A4AB-B9927523F704}"/>
    <dgm:cxn modelId="{B666F6FE-5B1B-4F3A-8EF5-5C88338525D2}" type="presOf" srcId="{642F610F-EECA-4039-9CCE-BD52B1157751}" destId="{071AB687-8529-499B-8271-A1F471F47487}" srcOrd="0" destOrd="0" presId="urn:microsoft.com/office/officeart/2008/layout/VerticalCurvedList"/>
    <dgm:cxn modelId="{8A63E843-4E72-4AC2-80A3-DAFBE697FAF1}" type="presOf" srcId="{AAC97B29-48C9-4F5C-9C93-23CD83261269}" destId="{33953CE0-9055-4FFC-92C8-C54CAD5A9608}" srcOrd="0" destOrd="0" presId="urn:microsoft.com/office/officeart/2008/layout/VerticalCurvedList"/>
    <dgm:cxn modelId="{26907D83-9AC4-4575-9B87-0BCF0C619BFC}" srcId="{642F610F-EECA-4039-9CCE-BD52B1157751}" destId="{EEC1492C-D814-4378-9FD8-EA8EA6D48285}" srcOrd="0" destOrd="0" parTransId="{90E14D1A-D980-4834-832F-B42ACA91D352}" sibTransId="{AAC97B29-48C9-4F5C-9C93-23CD83261269}"/>
    <dgm:cxn modelId="{57F7430A-184B-462A-95F2-7F2A81952D18}" type="presOf" srcId="{C6959E6D-0AC0-41A1-A054-D0272AA72AA6}" destId="{61FA2623-CFE2-4475-879B-32B0274D6E79}" srcOrd="0" destOrd="0" presId="urn:microsoft.com/office/officeart/2008/layout/VerticalCurvedList"/>
    <dgm:cxn modelId="{DFA4EF9D-96AA-43DD-9F3A-9C4E5576FB1E}" type="presParOf" srcId="{071AB687-8529-499B-8271-A1F471F47487}" destId="{7E08DD8D-AB6F-4304-B1B9-C7796708CD1B}" srcOrd="0" destOrd="0" presId="urn:microsoft.com/office/officeart/2008/layout/VerticalCurvedList"/>
    <dgm:cxn modelId="{DF71070E-077A-4A8B-9E5B-9EFFCFC321A8}" type="presParOf" srcId="{7E08DD8D-AB6F-4304-B1B9-C7796708CD1B}" destId="{C96867AB-77C4-4FB9-B5C3-4501796A806A}" srcOrd="0" destOrd="0" presId="urn:microsoft.com/office/officeart/2008/layout/VerticalCurvedList"/>
    <dgm:cxn modelId="{9205CC86-C8AF-4F12-BA2C-84326B1A8810}" type="presParOf" srcId="{C96867AB-77C4-4FB9-B5C3-4501796A806A}" destId="{EAE784AF-83CB-4BB1-A059-6D128A075625}" srcOrd="0" destOrd="0" presId="urn:microsoft.com/office/officeart/2008/layout/VerticalCurvedList"/>
    <dgm:cxn modelId="{D655E128-5716-42EC-B897-0AF7298A8386}" type="presParOf" srcId="{C96867AB-77C4-4FB9-B5C3-4501796A806A}" destId="{33953CE0-9055-4FFC-92C8-C54CAD5A9608}" srcOrd="1" destOrd="0" presId="urn:microsoft.com/office/officeart/2008/layout/VerticalCurvedList"/>
    <dgm:cxn modelId="{F0510F99-7A50-4415-B926-0424B04A4F53}" type="presParOf" srcId="{C96867AB-77C4-4FB9-B5C3-4501796A806A}" destId="{CD713767-A80F-4600-B249-B5523DD4792E}" srcOrd="2" destOrd="0" presId="urn:microsoft.com/office/officeart/2008/layout/VerticalCurvedList"/>
    <dgm:cxn modelId="{AB62EDF7-4F95-4E34-B995-C5A4D11349F9}" type="presParOf" srcId="{C96867AB-77C4-4FB9-B5C3-4501796A806A}" destId="{66186E18-975F-4503-B9D0-7B75A6BE583B}" srcOrd="3" destOrd="0" presId="urn:microsoft.com/office/officeart/2008/layout/VerticalCurvedList"/>
    <dgm:cxn modelId="{B3024308-E97D-40E0-9C46-28291509A97A}" type="presParOf" srcId="{7E08DD8D-AB6F-4304-B1B9-C7796708CD1B}" destId="{B385D05A-18C7-4F9E-90DA-98B69C97BEF6}" srcOrd="1" destOrd="0" presId="urn:microsoft.com/office/officeart/2008/layout/VerticalCurvedList"/>
    <dgm:cxn modelId="{9E995BCC-0D17-4A8C-9820-FBDFE717ED03}" type="presParOf" srcId="{7E08DD8D-AB6F-4304-B1B9-C7796708CD1B}" destId="{D0B7317B-0990-4CB1-9411-10BAA7BEB248}" srcOrd="2" destOrd="0" presId="urn:microsoft.com/office/officeart/2008/layout/VerticalCurvedList"/>
    <dgm:cxn modelId="{0698778C-FEE6-442B-93AC-59A9377E2C11}" type="presParOf" srcId="{D0B7317B-0990-4CB1-9411-10BAA7BEB248}" destId="{66793021-24BF-474F-9F48-E7B46FF52D42}" srcOrd="0" destOrd="0" presId="urn:microsoft.com/office/officeart/2008/layout/VerticalCurvedList"/>
    <dgm:cxn modelId="{6D7391B5-4948-47A1-B4D6-1310BB50BFC3}" type="presParOf" srcId="{7E08DD8D-AB6F-4304-B1B9-C7796708CD1B}" destId="{88B08629-CF2E-4CCA-BF9E-1351DEA67087}" srcOrd="3" destOrd="0" presId="urn:microsoft.com/office/officeart/2008/layout/VerticalCurvedList"/>
    <dgm:cxn modelId="{DB123B83-721E-439C-BCA1-6DECC221EF7F}" type="presParOf" srcId="{7E08DD8D-AB6F-4304-B1B9-C7796708CD1B}" destId="{6CC2DBDE-92BE-4CD2-9752-81665191524F}" srcOrd="4" destOrd="0" presId="urn:microsoft.com/office/officeart/2008/layout/VerticalCurvedList"/>
    <dgm:cxn modelId="{79637B95-A653-4CBD-9865-0AD6E76B3182}" type="presParOf" srcId="{6CC2DBDE-92BE-4CD2-9752-81665191524F}" destId="{AA87CDE0-21D2-42E7-8A5D-F28F13336FA8}" srcOrd="0" destOrd="0" presId="urn:microsoft.com/office/officeart/2008/layout/VerticalCurvedList"/>
    <dgm:cxn modelId="{CAC95028-CDBC-4B88-AD7C-0E87A472FF0E}" type="presParOf" srcId="{7E08DD8D-AB6F-4304-B1B9-C7796708CD1B}" destId="{61FA2623-CFE2-4475-879B-32B0274D6E79}" srcOrd="5" destOrd="0" presId="urn:microsoft.com/office/officeart/2008/layout/VerticalCurvedList"/>
    <dgm:cxn modelId="{8D46DF1B-0B15-4131-BB33-4C70CD434FA7}" type="presParOf" srcId="{7E08DD8D-AB6F-4304-B1B9-C7796708CD1B}" destId="{9806D4F1-7684-434B-84BB-643ABA6A16E5}" srcOrd="6" destOrd="0" presId="urn:microsoft.com/office/officeart/2008/layout/VerticalCurvedList"/>
    <dgm:cxn modelId="{E40F0A11-47FB-4560-8F4D-633A8C6986AC}" type="presParOf" srcId="{9806D4F1-7684-434B-84BB-643ABA6A16E5}" destId="{E0EBE8F4-4B54-4A1E-8E79-349A4A2D85FB}" srcOrd="0" destOrd="0" presId="urn:microsoft.com/office/officeart/2008/layout/VerticalCurvedList"/>
    <dgm:cxn modelId="{2CD59EE6-7ED3-45C2-BD0C-EA3FAC6C4C83}" type="presParOf" srcId="{7E08DD8D-AB6F-4304-B1B9-C7796708CD1B}" destId="{B6C54709-738F-485E-B694-0B7E339221E8}" srcOrd="7" destOrd="0" presId="urn:microsoft.com/office/officeart/2008/layout/VerticalCurvedList"/>
    <dgm:cxn modelId="{8BAF4F7E-7184-483C-BF45-C6EF93759985}" type="presParOf" srcId="{7E08DD8D-AB6F-4304-B1B9-C7796708CD1B}" destId="{6424C351-9317-4B3A-A205-9EAFF2E236C8}" srcOrd="8" destOrd="0" presId="urn:microsoft.com/office/officeart/2008/layout/VerticalCurvedList"/>
    <dgm:cxn modelId="{CA89E07A-EC11-46BC-ABD2-3BB9C94AF800}" type="presParOf" srcId="{6424C351-9317-4B3A-A205-9EAFF2E236C8}" destId="{4C480305-3E0D-46E3-A8A8-5C00E31858A9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EFF437C0-101C-47D6-86B4-27526304BB39}" type="doc">
      <dgm:prSet loTypeId="urn:microsoft.com/office/officeart/2005/8/layout/arrow3" loCatId="relationship" qsTypeId="urn:microsoft.com/office/officeart/2005/8/quickstyle/3d3" qsCatId="3D" csTypeId="urn:microsoft.com/office/officeart/2005/8/colors/colorful5" csCatId="colorful" phldr="1"/>
      <dgm:spPr/>
      <dgm:t>
        <a:bodyPr/>
        <a:lstStyle/>
        <a:p>
          <a:endParaRPr lang="zh-CN" altLang="en-US"/>
        </a:p>
      </dgm:t>
    </dgm:pt>
    <dgm:pt modelId="{A392161A-C77C-4E79-BB21-3AC9FDF305C3}">
      <dgm:prSet phldrT="[文本]"/>
      <dgm:spPr/>
      <dgm:t>
        <a:bodyPr/>
        <a:lstStyle/>
        <a:p>
          <a:r>
            <a:rPr lang="zh-CN" altLang="en-US" dirty="0" smtClean="0"/>
            <a:t>优化前文件大小： </a:t>
          </a:r>
          <a:r>
            <a:rPr lang="en-US" altLang="zh-CN" dirty="0" smtClean="0"/>
            <a:t>1003KB</a:t>
          </a:r>
          <a:endParaRPr lang="zh-CN" altLang="en-US" dirty="0"/>
        </a:p>
      </dgm:t>
    </dgm:pt>
    <dgm:pt modelId="{49C25137-AB22-4685-B354-D2B9F0842FBE}" type="parTrans" cxnId="{0EE87216-2565-4465-8896-2A4E5769F0D8}">
      <dgm:prSet/>
      <dgm:spPr/>
      <dgm:t>
        <a:bodyPr/>
        <a:lstStyle/>
        <a:p>
          <a:endParaRPr lang="zh-CN" altLang="en-US"/>
        </a:p>
      </dgm:t>
    </dgm:pt>
    <dgm:pt modelId="{17908D0E-739A-4675-8D1E-2B25DAA3D8C5}" type="sibTrans" cxnId="{0EE87216-2565-4465-8896-2A4E5769F0D8}">
      <dgm:prSet/>
      <dgm:spPr/>
      <dgm:t>
        <a:bodyPr/>
        <a:lstStyle/>
        <a:p>
          <a:endParaRPr lang="zh-CN" altLang="en-US"/>
        </a:p>
      </dgm:t>
    </dgm:pt>
    <dgm:pt modelId="{DADE0F76-B9F4-4697-AD27-B6CF288D2E39}">
      <dgm:prSet phldrT="[文本]"/>
      <dgm:spPr/>
      <dgm:t>
        <a:bodyPr/>
        <a:lstStyle/>
        <a:p>
          <a:r>
            <a:rPr lang="zh-CN" altLang="en-US" dirty="0" smtClean="0"/>
            <a:t>压缩后文件大小：</a:t>
          </a:r>
          <a:r>
            <a:rPr lang="en-US" altLang="zh-CN" dirty="0" smtClean="0"/>
            <a:t>404KB</a:t>
          </a:r>
          <a:endParaRPr lang="zh-CN" altLang="en-US" dirty="0"/>
        </a:p>
      </dgm:t>
    </dgm:pt>
    <dgm:pt modelId="{72669224-D97D-4195-9CC5-20A0A7B03A90}" type="parTrans" cxnId="{2C1DBAFA-1A68-43A1-8CE6-5FCCA5639D77}">
      <dgm:prSet/>
      <dgm:spPr/>
      <dgm:t>
        <a:bodyPr/>
        <a:lstStyle/>
        <a:p>
          <a:endParaRPr lang="zh-CN" altLang="en-US"/>
        </a:p>
      </dgm:t>
    </dgm:pt>
    <dgm:pt modelId="{5EF23A46-E357-4262-860E-F1AF012940BE}" type="sibTrans" cxnId="{2C1DBAFA-1A68-43A1-8CE6-5FCCA5639D77}">
      <dgm:prSet/>
      <dgm:spPr/>
      <dgm:t>
        <a:bodyPr/>
        <a:lstStyle/>
        <a:p>
          <a:endParaRPr lang="zh-CN" altLang="en-US"/>
        </a:p>
      </dgm:t>
    </dgm:pt>
    <dgm:pt modelId="{36144936-6407-416C-B443-FCFBC7E3CC7E}" type="pres">
      <dgm:prSet presAssocID="{EFF437C0-101C-47D6-86B4-27526304BB39}" presName="compositeShape" presStyleCnt="0">
        <dgm:presLayoutVars>
          <dgm:chMax val="2"/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5919719D-5C89-4B8B-AEDD-4097EE46D1AB}" type="pres">
      <dgm:prSet presAssocID="{EFF437C0-101C-47D6-86B4-27526304BB39}" presName="divider" presStyleLbl="fgShp" presStyleIdx="0" presStyleCnt="1"/>
      <dgm:spPr/>
    </dgm:pt>
    <dgm:pt modelId="{928F1D15-6A14-41A8-AE26-37A4A61D422D}" type="pres">
      <dgm:prSet presAssocID="{A392161A-C77C-4E79-BB21-3AC9FDF305C3}" presName="downArrow" presStyleLbl="node1" presStyleIdx="0" presStyleCnt="2"/>
      <dgm:spPr/>
    </dgm:pt>
    <dgm:pt modelId="{B9556D76-7EDE-4DFE-AFF0-48FEF08DF3FA}" type="pres">
      <dgm:prSet presAssocID="{A392161A-C77C-4E79-BB21-3AC9FDF305C3}" presName="downArrow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640C6B4-F67F-4FA3-8072-B85B2D7EE3B4}" type="pres">
      <dgm:prSet presAssocID="{DADE0F76-B9F4-4697-AD27-B6CF288D2E39}" presName="upArrow" presStyleLbl="node1" presStyleIdx="1" presStyleCnt="2"/>
      <dgm:spPr/>
    </dgm:pt>
    <dgm:pt modelId="{AFEBB437-6BB3-4F5D-A509-0A2219B655AC}" type="pres">
      <dgm:prSet presAssocID="{DADE0F76-B9F4-4697-AD27-B6CF288D2E39}" presName="upArrow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0EE87216-2565-4465-8896-2A4E5769F0D8}" srcId="{EFF437C0-101C-47D6-86B4-27526304BB39}" destId="{A392161A-C77C-4E79-BB21-3AC9FDF305C3}" srcOrd="0" destOrd="0" parTransId="{49C25137-AB22-4685-B354-D2B9F0842FBE}" sibTransId="{17908D0E-739A-4675-8D1E-2B25DAA3D8C5}"/>
    <dgm:cxn modelId="{2C1DBAFA-1A68-43A1-8CE6-5FCCA5639D77}" srcId="{EFF437C0-101C-47D6-86B4-27526304BB39}" destId="{DADE0F76-B9F4-4697-AD27-B6CF288D2E39}" srcOrd="1" destOrd="0" parTransId="{72669224-D97D-4195-9CC5-20A0A7B03A90}" sibTransId="{5EF23A46-E357-4262-860E-F1AF012940BE}"/>
    <dgm:cxn modelId="{7B519F50-4B2B-4759-A289-28F88EBA628B}" type="presOf" srcId="{DADE0F76-B9F4-4697-AD27-B6CF288D2E39}" destId="{AFEBB437-6BB3-4F5D-A509-0A2219B655AC}" srcOrd="0" destOrd="0" presId="urn:microsoft.com/office/officeart/2005/8/layout/arrow3"/>
    <dgm:cxn modelId="{66F2AFE8-9BA8-4C97-9996-209711A72FF4}" type="presOf" srcId="{A392161A-C77C-4E79-BB21-3AC9FDF305C3}" destId="{B9556D76-7EDE-4DFE-AFF0-48FEF08DF3FA}" srcOrd="0" destOrd="0" presId="urn:microsoft.com/office/officeart/2005/8/layout/arrow3"/>
    <dgm:cxn modelId="{540E61FD-2F80-4AD0-9B77-21B9391ACCAF}" type="presOf" srcId="{EFF437C0-101C-47D6-86B4-27526304BB39}" destId="{36144936-6407-416C-B443-FCFBC7E3CC7E}" srcOrd="0" destOrd="0" presId="urn:microsoft.com/office/officeart/2005/8/layout/arrow3"/>
    <dgm:cxn modelId="{48D040C6-A63C-465C-A421-E4D7397AF128}" type="presParOf" srcId="{36144936-6407-416C-B443-FCFBC7E3CC7E}" destId="{5919719D-5C89-4B8B-AEDD-4097EE46D1AB}" srcOrd="0" destOrd="0" presId="urn:microsoft.com/office/officeart/2005/8/layout/arrow3"/>
    <dgm:cxn modelId="{B72F990D-5B8C-4380-83E6-6D44CD986A4E}" type="presParOf" srcId="{36144936-6407-416C-B443-FCFBC7E3CC7E}" destId="{928F1D15-6A14-41A8-AE26-37A4A61D422D}" srcOrd="1" destOrd="0" presId="urn:microsoft.com/office/officeart/2005/8/layout/arrow3"/>
    <dgm:cxn modelId="{85F1C63A-1958-489D-A13F-7E3D477C804B}" type="presParOf" srcId="{36144936-6407-416C-B443-FCFBC7E3CC7E}" destId="{B9556D76-7EDE-4DFE-AFF0-48FEF08DF3FA}" srcOrd="2" destOrd="0" presId="urn:microsoft.com/office/officeart/2005/8/layout/arrow3"/>
    <dgm:cxn modelId="{DB955132-6BD3-4D56-AC02-7A5C3B698596}" type="presParOf" srcId="{36144936-6407-416C-B443-FCFBC7E3CC7E}" destId="{4640C6B4-F67F-4FA3-8072-B85B2D7EE3B4}" srcOrd="3" destOrd="0" presId="urn:microsoft.com/office/officeart/2005/8/layout/arrow3"/>
    <dgm:cxn modelId="{002D6927-AE5A-4A18-A559-937C4AA4CAC9}" type="presParOf" srcId="{36144936-6407-416C-B443-FCFBC7E3CC7E}" destId="{AFEBB437-6BB3-4F5D-A509-0A2219B655AC}" srcOrd="4" destOrd="0" presId="urn:microsoft.com/office/officeart/2005/8/layout/arrow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4.xml><?xml version="1.0" encoding="utf-8"?>
<dgm:dataModel xmlns:dgm="http://schemas.openxmlformats.org/drawingml/2006/diagram" xmlns:a="http://schemas.openxmlformats.org/drawingml/2006/main">
  <dgm:ptLst>
    <dgm:pt modelId="{E4C54A3A-01A4-403D-BBFD-88978E00ECE9}" type="doc">
      <dgm:prSet loTypeId="urn:microsoft.com/office/officeart/2005/8/layout/vList4#2" loCatId="list" qsTypeId="urn:microsoft.com/office/officeart/2005/8/quickstyle/3d2" qsCatId="3D" csTypeId="urn:microsoft.com/office/officeart/2005/8/colors/colorful3" csCatId="colorful" phldr="1"/>
      <dgm:spPr/>
      <dgm:t>
        <a:bodyPr/>
        <a:lstStyle/>
        <a:p>
          <a:endParaRPr lang="zh-CN" altLang="en-US"/>
        </a:p>
      </dgm:t>
    </dgm:pt>
    <dgm:pt modelId="{FAA4D6B7-D6F2-4790-86D9-7B6668377FC3}">
      <dgm:prSet phldrT="[文本]"/>
      <dgm:spPr/>
      <dgm:t>
        <a:bodyPr/>
        <a:lstStyle/>
        <a:p>
          <a:r>
            <a:rPr lang="zh-CN" altLang="en-US" dirty="0" smtClean="0"/>
            <a:t>采用 </a:t>
          </a:r>
          <a:r>
            <a:rPr lang="en-US" altLang="zh-CN" dirty="0" err="1" smtClean="0"/>
            <a:t>Yui</a:t>
          </a:r>
          <a:r>
            <a:rPr lang="en-US" altLang="zh-CN" dirty="0" smtClean="0"/>
            <a:t> </a:t>
          </a:r>
          <a:r>
            <a:rPr lang="zh-CN" altLang="en-US" dirty="0" smtClean="0"/>
            <a:t>压缩标准</a:t>
          </a:r>
          <a:endParaRPr lang="zh-CN" altLang="en-US" dirty="0"/>
        </a:p>
      </dgm:t>
    </dgm:pt>
    <dgm:pt modelId="{AD7CE3BB-D8AB-42D0-9024-C7980F0A4453}" type="parTrans" cxnId="{4531A683-9BEB-474D-B9CF-6EB52A16DA70}">
      <dgm:prSet/>
      <dgm:spPr/>
      <dgm:t>
        <a:bodyPr/>
        <a:lstStyle/>
        <a:p>
          <a:endParaRPr lang="zh-CN" altLang="en-US"/>
        </a:p>
      </dgm:t>
    </dgm:pt>
    <dgm:pt modelId="{9E9B07DB-F8C8-4585-B7AA-964D29191CC3}" type="sibTrans" cxnId="{4531A683-9BEB-474D-B9CF-6EB52A16DA70}">
      <dgm:prSet/>
      <dgm:spPr/>
      <dgm:t>
        <a:bodyPr/>
        <a:lstStyle/>
        <a:p>
          <a:endParaRPr lang="zh-CN" altLang="en-US"/>
        </a:p>
      </dgm:t>
    </dgm:pt>
    <dgm:pt modelId="{F942790F-A549-4D4B-97A8-DCDA67C74A5A}">
      <dgm:prSet phldrT="[文本]"/>
      <dgm:spPr/>
      <dgm:t>
        <a:bodyPr/>
        <a:lstStyle/>
        <a:p>
          <a:r>
            <a:rPr lang="zh-CN" altLang="en-US" dirty="0" smtClean="0"/>
            <a:t>引用文件自动去重</a:t>
          </a:r>
          <a:endParaRPr lang="zh-CN" altLang="en-US" dirty="0"/>
        </a:p>
      </dgm:t>
    </dgm:pt>
    <dgm:pt modelId="{8C2B84B7-BCA4-469B-B0DD-02E0DC1A8BFE}" type="parTrans" cxnId="{2CF4CD87-1F48-457F-B451-8ADB8A9315A7}">
      <dgm:prSet/>
      <dgm:spPr/>
      <dgm:t>
        <a:bodyPr/>
        <a:lstStyle/>
        <a:p>
          <a:endParaRPr lang="zh-CN" altLang="en-US"/>
        </a:p>
      </dgm:t>
    </dgm:pt>
    <dgm:pt modelId="{5F8E5B31-220D-4F2D-97B8-008E92F6797F}" type="sibTrans" cxnId="{2CF4CD87-1F48-457F-B451-8ADB8A9315A7}">
      <dgm:prSet/>
      <dgm:spPr/>
      <dgm:t>
        <a:bodyPr/>
        <a:lstStyle/>
        <a:p>
          <a:endParaRPr lang="zh-CN" altLang="en-US"/>
        </a:p>
      </dgm:t>
    </dgm:pt>
    <dgm:pt modelId="{C40DF02D-5F0E-40C3-887F-102A4185FECA}">
      <dgm:prSet phldrT="[文本]"/>
      <dgm:spPr/>
      <dgm:t>
        <a:bodyPr/>
        <a:lstStyle/>
        <a:p>
          <a:r>
            <a:rPr lang="zh-CN" altLang="en-US" dirty="0" smtClean="0"/>
            <a:t>合并</a:t>
          </a:r>
          <a:r>
            <a:rPr lang="en-US" altLang="zh-CN" dirty="0" err="1" smtClean="0"/>
            <a:t>Js</a:t>
          </a:r>
          <a:r>
            <a:rPr lang="zh-CN" altLang="en-US" dirty="0" smtClean="0"/>
            <a:t>文件，减少请求次数</a:t>
          </a:r>
          <a:endParaRPr lang="zh-CN" altLang="en-US" dirty="0"/>
        </a:p>
      </dgm:t>
    </dgm:pt>
    <dgm:pt modelId="{0FEE7155-0029-4D6D-9C04-DC5AAA773710}" type="parTrans" cxnId="{11383EB5-89E2-4C2D-9C67-7C8EA67B52CA}">
      <dgm:prSet/>
      <dgm:spPr/>
      <dgm:t>
        <a:bodyPr/>
        <a:lstStyle/>
        <a:p>
          <a:endParaRPr lang="zh-CN" altLang="en-US"/>
        </a:p>
      </dgm:t>
    </dgm:pt>
    <dgm:pt modelId="{6CB2A4A9-B2A3-416A-857C-1FA1F106985B}" type="sibTrans" cxnId="{11383EB5-89E2-4C2D-9C67-7C8EA67B52CA}">
      <dgm:prSet/>
      <dgm:spPr/>
      <dgm:t>
        <a:bodyPr/>
        <a:lstStyle/>
        <a:p>
          <a:endParaRPr lang="zh-CN" altLang="en-US"/>
        </a:p>
      </dgm:t>
    </dgm:pt>
    <dgm:pt modelId="{0C0FD134-7314-419D-AEAA-59064230123A}" type="pres">
      <dgm:prSet presAssocID="{E4C54A3A-01A4-403D-BBFD-88978E00ECE9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CEC88A05-B4AA-47DB-A8A3-53283676B88A}" type="pres">
      <dgm:prSet presAssocID="{FAA4D6B7-D6F2-4790-86D9-7B6668377FC3}" presName="comp" presStyleCnt="0"/>
      <dgm:spPr/>
    </dgm:pt>
    <dgm:pt modelId="{593EC09D-9794-43AE-8BED-EACAB00E8F6C}" type="pres">
      <dgm:prSet presAssocID="{FAA4D6B7-D6F2-4790-86D9-7B6668377FC3}" presName="box" presStyleLbl="node1" presStyleIdx="0" presStyleCnt="3"/>
      <dgm:spPr/>
      <dgm:t>
        <a:bodyPr/>
        <a:lstStyle/>
        <a:p>
          <a:endParaRPr lang="zh-CN" altLang="en-US"/>
        </a:p>
      </dgm:t>
    </dgm:pt>
    <dgm:pt modelId="{13688BDA-D286-4770-BE20-9427E1D6B339}" type="pres">
      <dgm:prSet presAssocID="{FAA4D6B7-D6F2-4790-86D9-7B6668377FC3}" presName="img" presStyleLbl="fgImgPlace1" presStyleIdx="0" presStyleCnt="3"/>
      <dgm:spPr/>
    </dgm:pt>
    <dgm:pt modelId="{B222A8AA-EB42-4FBC-8236-C2E59AA0F727}" type="pres">
      <dgm:prSet presAssocID="{FAA4D6B7-D6F2-4790-86D9-7B6668377FC3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0A5E26F-AE63-45E4-A31C-A902FCBC3FE7}" type="pres">
      <dgm:prSet presAssocID="{9E9B07DB-F8C8-4585-B7AA-964D29191CC3}" presName="spacer" presStyleCnt="0"/>
      <dgm:spPr/>
    </dgm:pt>
    <dgm:pt modelId="{91B8B45E-62D8-4A62-9284-DB42A145CE05}" type="pres">
      <dgm:prSet presAssocID="{F942790F-A549-4D4B-97A8-DCDA67C74A5A}" presName="comp" presStyleCnt="0"/>
      <dgm:spPr/>
    </dgm:pt>
    <dgm:pt modelId="{C7D3381C-0657-4F7A-96E9-75A66D4E6CD1}" type="pres">
      <dgm:prSet presAssocID="{F942790F-A549-4D4B-97A8-DCDA67C74A5A}" presName="box" presStyleLbl="node1" presStyleIdx="1" presStyleCnt="3"/>
      <dgm:spPr/>
      <dgm:t>
        <a:bodyPr/>
        <a:lstStyle/>
        <a:p>
          <a:endParaRPr lang="zh-CN" altLang="en-US"/>
        </a:p>
      </dgm:t>
    </dgm:pt>
    <dgm:pt modelId="{6288F01F-C924-4037-8B37-0F3F0187A128}" type="pres">
      <dgm:prSet presAssocID="{F942790F-A549-4D4B-97A8-DCDA67C74A5A}" presName="img" presStyleLbl="fgImgPlace1" presStyleIdx="1" presStyleCnt="3"/>
      <dgm:spPr/>
    </dgm:pt>
    <dgm:pt modelId="{8B6AB3E1-0CE6-4484-975D-93B3BB64B731}" type="pres">
      <dgm:prSet presAssocID="{F942790F-A549-4D4B-97A8-DCDA67C74A5A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F226F25-893A-43D9-BCB0-E2FCC2A35C2C}" type="pres">
      <dgm:prSet presAssocID="{5F8E5B31-220D-4F2D-97B8-008E92F6797F}" presName="spacer" presStyleCnt="0"/>
      <dgm:spPr/>
    </dgm:pt>
    <dgm:pt modelId="{3CA7A233-6722-431B-80DD-9151263B9BAD}" type="pres">
      <dgm:prSet presAssocID="{C40DF02D-5F0E-40C3-887F-102A4185FECA}" presName="comp" presStyleCnt="0"/>
      <dgm:spPr/>
    </dgm:pt>
    <dgm:pt modelId="{D2693B5D-E925-4815-B608-C4FA9755DF1F}" type="pres">
      <dgm:prSet presAssocID="{C40DF02D-5F0E-40C3-887F-102A4185FECA}" presName="box" presStyleLbl="node1" presStyleIdx="2" presStyleCnt="3"/>
      <dgm:spPr/>
      <dgm:t>
        <a:bodyPr/>
        <a:lstStyle/>
        <a:p>
          <a:endParaRPr lang="zh-CN" altLang="en-US"/>
        </a:p>
      </dgm:t>
    </dgm:pt>
    <dgm:pt modelId="{C42E9402-A0F4-4550-A50B-0EC4A0A313F3}" type="pres">
      <dgm:prSet presAssocID="{C40DF02D-5F0E-40C3-887F-102A4185FECA}" presName="img" presStyleLbl="fgImgPlace1" presStyleIdx="2" presStyleCnt="3"/>
      <dgm:spPr/>
    </dgm:pt>
    <dgm:pt modelId="{BAA19BE6-6B62-4A45-81C2-47424EC35079}" type="pres">
      <dgm:prSet presAssocID="{C40DF02D-5F0E-40C3-887F-102A4185FECA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D87C133E-2A10-476B-9581-5D481899D25B}" type="presOf" srcId="{E4C54A3A-01A4-403D-BBFD-88978E00ECE9}" destId="{0C0FD134-7314-419D-AEAA-59064230123A}" srcOrd="0" destOrd="0" presId="urn:microsoft.com/office/officeart/2005/8/layout/vList4#2"/>
    <dgm:cxn modelId="{B2175BC2-55A8-4AD9-B03E-49DC6461A423}" type="presOf" srcId="{C40DF02D-5F0E-40C3-887F-102A4185FECA}" destId="{D2693B5D-E925-4815-B608-C4FA9755DF1F}" srcOrd="0" destOrd="0" presId="urn:microsoft.com/office/officeart/2005/8/layout/vList4#2"/>
    <dgm:cxn modelId="{4531A683-9BEB-474D-B9CF-6EB52A16DA70}" srcId="{E4C54A3A-01A4-403D-BBFD-88978E00ECE9}" destId="{FAA4D6B7-D6F2-4790-86D9-7B6668377FC3}" srcOrd="0" destOrd="0" parTransId="{AD7CE3BB-D8AB-42D0-9024-C7980F0A4453}" sibTransId="{9E9B07DB-F8C8-4585-B7AA-964D29191CC3}"/>
    <dgm:cxn modelId="{BC422DBC-D54F-450A-B7BD-870BB66D7C74}" type="presOf" srcId="{C40DF02D-5F0E-40C3-887F-102A4185FECA}" destId="{BAA19BE6-6B62-4A45-81C2-47424EC35079}" srcOrd="1" destOrd="0" presId="urn:microsoft.com/office/officeart/2005/8/layout/vList4#2"/>
    <dgm:cxn modelId="{34245A9B-0CAE-4ED2-B47F-030F6DC277B9}" type="presOf" srcId="{F942790F-A549-4D4B-97A8-DCDA67C74A5A}" destId="{8B6AB3E1-0CE6-4484-975D-93B3BB64B731}" srcOrd="1" destOrd="0" presId="urn:microsoft.com/office/officeart/2005/8/layout/vList4#2"/>
    <dgm:cxn modelId="{05AC2F20-7AD9-46B0-B961-5D956B06F385}" type="presOf" srcId="{F942790F-A549-4D4B-97A8-DCDA67C74A5A}" destId="{C7D3381C-0657-4F7A-96E9-75A66D4E6CD1}" srcOrd="0" destOrd="0" presId="urn:microsoft.com/office/officeart/2005/8/layout/vList4#2"/>
    <dgm:cxn modelId="{2CF4CD87-1F48-457F-B451-8ADB8A9315A7}" srcId="{E4C54A3A-01A4-403D-BBFD-88978E00ECE9}" destId="{F942790F-A549-4D4B-97A8-DCDA67C74A5A}" srcOrd="1" destOrd="0" parTransId="{8C2B84B7-BCA4-469B-B0DD-02E0DC1A8BFE}" sibTransId="{5F8E5B31-220D-4F2D-97B8-008E92F6797F}"/>
    <dgm:cxn modelId="{A90018A6-2E27-4473-8D31-7ABE2EA2E234}" type="presOf" srcId="{FAA4D6B7-D6F2-4790-86D9-7B6668377FC3}" destId="{593EC09D-9794-43AE-8BED-EACAB00E8F6C}" srcOrd="0" destOrd="0" presId="urn:microsoft.com/office/officeart/2005/8/layout/vList4#2"/>
    <dgm:cxn modelId="{11383EB5-89E2-4C2D-9C67-7C8EA67B52CA}" srcId="{E4C54A3A-01A4-403D-BBFD-88978E00ECE9}" destId="{C40DF02D-5F0E-40C3-887F-102A4185FECA}" srcOrd="2" destOrd="0" parTransId="{0FEE7155-0029-4D6D-9C04-DC5AAA773710}" sibTransId="{6CB2A4A9-B2A3-416A-857C-1FA1F106985B}"/>
    <dgm:cxn modelId="{927BD6DB-AFDB-4858-BFD3-C44FD82D164C}" type="presOf" srcId="{FAA4D6B7-D6F2-4790-86D9-7B6668377FC3}" destId="{B222A8AA-EB42-4FBC-8236-C2E59AA0F727}" srcOrd="1" destOrd="0" presId="urn:microsoft.com/office/officeart/2005/8/layout/vList4#2"/>
    <dgm:cxn modelId="{53132C3B-79CD-4517-8291-1CF259685DB7}" type="presParOf" srcId="{0C0FD134-7314-419D-AEAA-59064230123A}" destId="{CEC88A05-B4AA-47DB-A8A3-53283676B88A}" srcOrd="0" destOrd="0" presId="urn:microsoft.com/office/officeart/2005/8/layout/vList4#2"/>
    <dgm:cxn modelId="{6D99DD07-560D-43BC-8ACB-789DD9810684}" type="presParOf" srcId="{CEC88A05-B4AA-47DB-A8A3-53283676B88A}" destId="{593EC09D-9794-43AE-8BED-EACAB00E8F6C}" srcOrd="0" destOrd="0" presId="urn:microsoft.com/office/officeart/2005/8/layout/vList4#2"/>
    <dgm:cxn modelId="{62EE8F89-FB53-499A-ACB4-A8816F5CF679}" type="presParOf" srcId="{CEC88A05-B4AA-47DB-A8A3-53283676B88A}" destId="{13688BDA-D286-4770-BE20-9427E1D6B339}" srcOrd="1" destOrd="0" presId="urn:microsoft.com/office/officeart/2005/8/layout/vList4#2"/>
    <dgm:cxn modelId="{96AF43A8-8102-4080-919D-54D5260AA813}" type="presParOf" srcId="{CEC88A05-B4AA-47DB-A8A3-53283676B88A}" destId="{B222A8AA-EB42-4FBC-8236-C2E59AA0F727}" srcOrd="2" destOrd="0" presId="urn:microsoft.com/office/officeart/2005/8/layout/vList4#2"/>
    <dgm:cxn modelId="{D039B2AB-0D4F-48EC-9FFD-469899678173}" type="presParOf" srcId="{0C0FD134-7314-419D-AEAA-59064230123A}" destId="{20A5E26F-AE63-45E4-A31C-A902FCBC3FE7}" srcOrd="1" destOrd="0" presId="urn:microsoft.com/office/officeart/2005/8/layout/vList4#2"/>
    <dgm:cxn modelId="{CB01956F-5ACB-42F1-A3CC-FE05658DAF43}" type="presParOf" srcId="{0C0FD134-7314-419D-AEAA-59064230123A}" destId="{91B8B45E-62D8-4A62-9284-DB42A145CE05}" srcOrd="2" destOrd="0" presId="urn:microsoft.com/office/officeart/2005/8/layout/vList4#2"/>
    <dgm:cxn modelId="{26338676-67D4-43EF-9AF6-92906EF8C5A5}" type="presParOf" srcId="{91B8B45E-62D8-4A62-9284-DB42A145CE05}" destId="{C7D3381C-0657-4F7A-96E9-75A66D4E6CD1}" srcOrd="0" destOrd="0" presId="urn:microsoft.com/office/officeart/2005/8/layout/vList4#2"/>
    <dgm:cxn modelId="{0482E305-EB15-4BF9-92EC-87FB16824FD3}" type="presParOf" srcId="{91B8B45E-62D8-4A62-9284-DB42A145CE05}" destId="{6288F01F-C924-4037-8B37-0F3F0187A128}" srcOrd="1" destOrd="0" presId="urn:microsoft.com/office/officeart/2005/8/layout/vList4#2"/>
    <dgm:cxn modelId="{522B6AA1-A14F-462C-A408-3A5E42BC6D1E}" type="presParOf" srcId="{91B8B45E-62D8-4A62-9284-DB42A145CE05}" destId="{8B6AB3E1-0CE6-4484-975D-93B3BB64B731}" srcOrd="2" destOrd="0" presId="urn:microsoft.com/office/officeart/2005/8/layout/vList4#2"/>
    <dgm:cxn modelId="{987053A1-0A41-482E-AF90-C3B04CBEE73E}" type="presParOf" srcId="{0C0FD134-7314-419D-AEAA-59064230123A}" destId="{CF226F25-893A-43D9-BCB0-E2FCC2A35C2C}" srcOrd="3" destOrd="0" presId="urn:microsoft.com/office/officeart/2005/8/layout/vList4#2"/>
    <dgm:cxn modelId="{FE5E3756-6FE4-4B0A-A792-EC84A6E78045}" type="presParOf" srcId="{0C0FD134-7314-419D-AEAA-59064230123A}" destId="{3CA7A233-6722-431B-80DD-9151263B9BAD}" srcOrd="4" destOrd="0" presId="urn:microsoft.com/office/officeart/2005/8/layout/vList4#2"/>
    <dgm:cxn modelId="{EA080BAE-49A7-4F57-A5F7-76E9226DEB5E}" type="presParOf" srcId="{3CA7A233-6722-431B-80DD-9151263B9BAD}" destId="{D2693B5D-E925-4815-B608-C4FA9755DF1F}" srcOrd="0" destOrd="0" presId="urn:microsoft.com/office/officeart/2005/8/layout/vList4#2"/>
    <dgm:cxn modelId="{025CFB37-DCCD-4FFC-83D0-578EB41640B3}" type="presParOf" srcId="{3CA7A233-6722-431B-80DD-9151263B9BAD}" destId="{C42E9402-A0F4-4550-A50B-0EC4A0A313F3}" srcOrd="1" destOrd="0" presId="urn:microsoft.com/office/officeart/2005/8/layout/vList4#2"/>
    <dgm:cxn modelId="{6375F585-0368-47CF-9422-8404D0DD818B}" type="presParOf" srcId="{3CA7A233-6722-431B-80DD-9151263B9BAD}" destId="{BAA19BE6-6B62-4A45-81C2-47424EC35079}" srcOrd="2" destOrd="0" presId="urn:microsoft.com/office/officeart/2005/8/layout/vList4#2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355AFB5-CA72-4E66-85F8-7588F7EDACF8}" type="doc">
      <dgm:prSet loTypeId="urn:microsoft.com/office/officeart/2005/8/layout/lProcess2" loCatId="relationship" qsTypeId="urn:microsoft.com/office/officeart/2009/2/quickstyle/3d8" qsCatId="3D" csTypeId="urn:microsoft.com/office/officeart/2005/8/colors/colorful1#1" csCatId="colorful" phldr="1"/>
      <dgm:spPr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</dgm:spPr>
      <dgm:t>
        <a:bodyPr/>
        <a:lstStyle/>
        <a:p>
          <a:endParaRPr lang="zh-CN" altLang="en-US"/>
        </a:p>
      </dgm:t>
    </dgm:pt>
    <dgm:pt modelId="{07DEA9AC-FC24-4B48-8FBC-69554222DB8A}">
      <dgm:prSet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r>
            <a:rPr lang="en-US" altLang="zh-CN" b="1" cap="none" spc="0" smtClean="0">
              <a:ln w="1905"/>
              <a:solidFill>
                <a:srgbClr val="003F56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rPr>
            <a:t>UI</a:t>
          </a:r>
          <a:endParaRPr lang="zh-CN" altLang="en-US" b="1" cap="none" spc="0" dirty="0">
            <a:ln w="1905"/>
            <a:solidFill>
              <a:srgbClr val="003F56"/>
            </a:solidFill>
            <a:effectLst>
              <a:innerShdw blurRad="69850" dist="43180" dir="5400000">
                <a:srgbClr val="000000">
                  <a:alpha val="65000"/>
                </a:srgbClr>
              </a:innerShdw>
            </a:effectLst>
          </a:endParaRPr>
        </a:p>
      </dgm:t>
    </dgm:pt>
    <dgm:pt modelId="{FB1EC6DF-9052-4D22-8632-AC1AEA9CE6DA}" type="parTrans" cxnId="{1B8B4508-249B-4F8C-99A0-5D855BBCB522}">
      <dgm:prSet/>
      <dgm:spPr/>
      <dgm:t>
        <a:bodyPr/>
        <a:lstStyle/>
        <a:p>
          <a:endParaRPr lang="zh-CN" altLang="en-US"/>
        </a:p>
      </dgm:t>
    </dgm:pt>
    <dgm:pt modelId="{0C1E1C25-960B-4679-B593-55086D69D4E8}" type="sibTrans" cxnId="{1B8B4508-249B-4F8C-99A0-5D855BBCB522}">
      <dgm:prSet/>
      <dgm:spPr/>
      <dgm:t>
        <a:bodyPr/>
        <a:lstStyle/>
        <a:p>
          <a:endParaRPr lang="zh-CN" altLang="en-US"/>
        </a:p>
      </dgm:t>
    </dgm:pt>
    <dgm:pt modelId="{3F9579A2-6C76-44C0-9D35-56C630BE78E3}">
      <dgm:prSet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en-US" altLang="zh-CN" dirty="0" smtClean="0"/>
            <a:t>jQuery</a:t>
          </a:r>
          <a:r>
            <a:rPr lang="zh-CN" altLang="en-US" dirty="0" smtClean="0"/>
            <a:t>插件（表格，时间）</a:t>
          </a:r>
          <a:endParaRPr lang="zh-CN" altLang="en-US" dirty="0"/>
        </a:p>
      </dgm:t>
    </dgm:pt>
    <dgm:pt modelId="{603C0AF7-5A4D-4C11-9BE3-3B2C425EE98D}" type="parTrans" cxnId="{E84B22F5-AB3B-4389-824C-B710ACFBA012}">
      <dgm:prSet/>
      <dgm:spPr/>
      <dgm:t>
        <a:bodyPr/>
        <a:lstStyle/>
        <a:p>
          <a:endParaRPr lang="zh-CN" altLang="en-US"/>
        </a:p>
      </dgm:t>
    </dgm:pt>
    <dgm:pt modelId="{07E5AF73-1140-445B-ABA3-7E6851DAA1ED}" type="sibTrans" cxnId="{E84B22F5-AB3B-4389-824C-B710ACFBA012}">
      <dgm:prSet/>
      <dgm:spPr/>
      <dgm:t>
        <a:bodyPr/>
        <a:lstStyle/>
        <a:p>
          <a:endParaRPr lang="zh-CN" altLang="en-US"/>
        </a:p>
      </dgm:t>
    </dgm:pt>
    <dgm:pt modelId="{2365A026-5695-444C-8F7F-9B61A845D1BA}">
      <dgm:prSet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zh-CN" altLang="en-US" dirty="0" smtClean="0"/>
            <a:t>验证</a:t>
          </a:r>
          <a:endParaRPr lang="zh-CN" altLang="en-US" dirty="0"/>
        </a:p>
      </dgm:t>
    </dgm:pt>
    <dgm:pt modelId="{9F17EF17-2F11-4EBD-925C-76EAB26E3C52}" type="parTrans" cxnId="{51E4084F-94EB-4CAD-B18D-B46475C4A363}">
      <dgm:prSet/>
      <dgm:spPr/>
      <dgm:t>
        <a:bodyPr/>
        <a:lstStyle/>
        <a:p>
          <a:endParaRPr lang="zh-CN" altLang="en-US"/>
        </a:p>
      </dgm:t>
    </dgm:pt>
    <dgm:pt modelId="{7FA56855-AE96-43C7-912C-0D0841ABC2FA}" type="sibTrans" cxnId="{51E4084F-94EB-4CAD-B18D-B46475C4A363}">
      <dgm:prSet/>
      <dgm:spPr/>
      <dgm:t>
        <a:bodyPr/>
        <a:lstStyle/>
        <a:p>
          <a:endParaRPr lang="zh-CN" altLang="en-US"/>
        </a:p>
      </dgm:t>
    </dgm:pt>
    <dgm:pt modelId="{13DAA042-6A82-42DA-8D0C-9AF49B4E5BBB}">
      <dgm:prSet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zh-CN" altLang="en-US" dirty="0" smtClean="0"/>
            <a:t>报表</a:t>
          </a:r>
          <a:endParaRPr lang="zh-CN" altLang="en-US" dirty="0"/>
        </a:p>
      </dgm:t>
    </dgm:pt>
    <dgm:pt modelId="{C7591EBD-A7CF-4341-BA34-02015DF58CD8}" type="parTrans" cxnId="{F7C439B2-9987-467A-8CB1-2D11252121DD}">
      <dgm:prSet/>
      <dgm:spPr/>
      <dgm:t>
        <a:bodyPr/>
        <a:lstStyle/>
        <a:p>
          <a:endParaRPr lang="zh-CN" altLang="en-US"/>
        </a:p>
      </dgm:t>
    </dgm:pt>
    <dgm:pt modelId="{0650510A-2343-4DEE-A699-BDDFDCD433AC}" type="sibTrans" cxnId="{F7C439B2-9987-467A-8CB1-2D11252121DD}">
      <dgm:prSet/>
      <dgm:spPr/>
      <dgm:t>
        <a:bodyPr/>
        <a:lstStyle/>
        <a:p>
          <a:endParaRPr lang="zh-CN" altLang="en-US"/>
        </a:p>
      </dgm:t>
    </dgm:pt>
    <dgm:pt modelId="{E997577A-4548-4550-9A35-31EE10849410}">
      <dgm:prSet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r>
            <a:rPr lang="zh-CN" altLang="en-US" b="1" cap="none" spc="50" smtClean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rPr>
            <a:t>业务层</a:t>
          </a:r>
          <a:endParaRPr lang="zh-CN" altLang="en-US" b="1" cap="none" spc="50" dirty="0">
            <a:ln w="11430"/>
            <a:solidFill>
              <a:srgbClr val="003F56"/>
            </a:soli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B70131E2-B950-458B-841E-05039BCAAD40}" type="parTrans" cxnId="{84BC1239-1A84-432E-AC98-B2B5A2ACE134}">
      <dgm:prSet/>
      <dgm:spPr/>
      <dgm:t>
        <a:bodyPr/>
        <a:lstStyle/>
        <a:p>
          <a:endParaRPr lang="zh-CN" altLang="en-US"/>
        </a:p>
      </dgm:t>
    </dgm:pt>
    <dgm:pt modelId="{7B4870E3-C734-4538-BC48-0EA2A59133CD}" type="sibTrans" cxnId="{84BC1239-1A84-432E-AC98-B2B5A2ACE134}">
      <dgm:prSet/>
      <dgm:spPr/>
      <dgm:t>
        <a:bodyPr/>
        <a:lstStyle/>
        <a:p>
          <a:endParaRPr lang="zh-CN" altLang="en-US"/>
        </a:p>
      </dgm:t>
    </dgm:pt>
    <dgm:pt modelId="{AB1EE4AA-68C6-4062-807B-2562920B63B1}">
      <dgm:prSet/>
      <dgm:spPr>
        <a:solidFill>
          <a:srgbClr val="002060"/>
        </a:solidFill>
      </dgm:spPr>
      <dgm:t>
        <a:bodyPr/>
        <a:lstStyle/>
        <a:p>
          <a:r>
            <a:rPr lang="zh-CN" altLang="en-US" dirty="0" smtClean="0"/>
            <a:t>工作流</a:t>
          </a:r>
          <a:endParaRPr lang="zh-CN" altLang="en-US" dirty="0"/>
        </a:p>
      </dgm:t>
    </dgm:pt>
    <dgm:pt modelId="{7FC0A4CD-2EED-4228-83FB-9EF2F4AE045A}" type="parTrans" cxnId="{CCB34C72-DCCC-4B0B-8D82-97F97E7FA4A1}">
      <dgm:prSet/>
      <dgm:spPr/>
      <dgm:t>
        <a:bodyPr/>
        <a:lstStyle/>
        <a:p>
          <a:endParaRPr lang="zh-CN" altLang="en-US"/>
        </a:p>
      </dgm:t>
    </dgm:pt>
    <dgm:pt modelId="{73BF874F-AE7D-49A4-A6E8-E7E41C8988D6}" type="sibTrans" cxnId="{CCB34C72-DCCC-4B0B-8D82-97F97E7FA4A1}">
      <dgm:prSet/>
      <dgm:spPr/>
      <dgm:t>
        <a:bodyPr/>
        <a:lstStyle/>
        <a:p>
          <a:endParaRPr lang="zh-CN" altLang="en-US"/>
        </a:p>
      </dgm:t>
    </dgm:pt>
    <dgm:pt modelId="{B153B0DE-9BB3-4D6B-BB38-70D38FCA7E95}">
      <dgm:prSet/>
      <dgm:spPr>
        <a:solidFill>
          <a:srgbClr val="002060"/>
        </a:solidFill>
      </dgm:spPr>
      <dgm:t>
        <a:bodyPr/>
        <a:lstStyle/>
        <a:p>
          <a:r>
            <a:rPr lang="zh-CN" altLang="en-US" dirty="0" smtClean="0"/>
            <a:t>登录</a:t>
          </a:r>
          <a:r>
            <a:rPr lang="en-US" altLang="zh-CN" dirty="0" smtClean="0"/>
            <a:t>SSO</a:t>
          </a:r>
          <a:endParaRPr lang="zh-CN" altLang="en-US" dirty="0"/>
        </a:p>
      </dgm:t>
    </dgm:pt>
    <dgm:pt modelId="{3BB8727E-E473-4B5A-B0DD-897861CE5401}" type="parTrans" cxnId="{73C643D8-FCAE-44C4-A17E-FDF40FDDF2A4}">
      <dgm:prSet/>
      <dgm:spPr/>
      <dgm:t>
        <a:bodyPr/>
        <a:lstStyle/>
        <a:p>
          <a:endParaRPr lang="zh-CN" altLang="en-US"/>
        </a:p>
      </dgm:t>
    </dgm:pt>
    <dgm:pt modelId="{30775954-7391-4BEB-A213-92701D9E20B4}" type="sibTrans" cxnId="{73C643D8-FCAE-44C4-A17E-FDF40FDDF2A4}">
      <dgm:prSet/>
      <dgm:spPr/>
      <dgm:t>
        <a:bodyPr/>
        <a:lstStyle/>
        <a:p>
          <a:endParaRPr lang="zh-CN" altLang="en-US"/>
        </a:p>
      </dgm:t>
    </dgm:pt>
    <dgm:pt modelId="{F54658E1-14D2-40CC-A6C5-7C59960A1239}">
      <dgm:prSet/>
      <dgm:spPr>
        <a:solidFill>
          <a:srgbClr val="002060"/>
        </a:solidFill>
      </dgm:spPr>
      <dgm:t>
        <a:bodyPr/>
        <a:lstStyle/>
        <a:p>
          <a:r>
            <a:rPr lang="zh-CN" altLang="en-US" dirty="0" smtClean="0"/>
            <a:t>权限控制</a:t>
          </a:r>
          <a:endParaRPr lang="zh-CN" altLang="en-US" dirty="0"/>
        </a:p>
      </dgm:t>
    </dgm:pt>
    <dgm:pt modelId="{23531FD6-8D2E-405D-AA17-316E9FF8DDBE}" type="parTrans" cxnId="{43FDDF3F-05C5-48A5-805D-E826D9DC4CB6}">
      <dgm:prSet/>
      <dgm:spPr/>
      <dgm:t>
        <a:bodyPr/>
        <a:lstStyle/>
        <a:p>
          <a:endParaRPr lang="zh-CN" altLang="en-US"/>
        </a:p>
      </dgm:t>
    </dgm:pt>
    <dgm:pt modelId="{CFFB9DE3-7CD1-4839-A0FE-E615BC899339}" type="sibTrans" cxnId="{43FDDF3F-05C5-48A5-805D-E826D9DC4CB6}">
      <dgm:prSet/>
      <dgm:spPr/>
      <dgm:t>
        <a:bodyPr/>
        <a:lstStyle/>
        <a:p>
          <a:endParaRPr lang="zh-CN" altLang="en-US"/>
        </a:p>
      </dgm:t>
    </dgm:pt>
    <dgm:pt modelId="{21F5ACDF-5253-4CC8-9520-82C625AA0B39}">
      <dgm:prSet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r>
            <a:rPr lang="zh-CN" altLang="en-US" b="1" cap="none" spc="50" smtClean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rPr>
            <a:t>资源层</a:t>
          </a:r>
          <a:endParaRPr lang="zh-CN" altLang="en-US" b="1" cap="none" spc="50" dirty="0">
            <a:ln w="11430"/>
            <a:solidFill>
              <a:srgbClr val="003F56"/>
            </a:soli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57112B94-6A77-41F4-B036-1B1880D722C6}" type="parTrans" cxnId="{CFD203C6-4E0E-4187-B6DA-4178872C395E}">
      <dgm:prSet/>
      <dgm:spPr/>
      <dgm:t>
        <a:bodyPr/>
        <a:lstStyle/>
        <a:p>
          <a:endParaRPr lang="zh-CN" altLang="en-US"/>
        </a:p>
      </dgm:t>
    </dgm:pt>
    <dgm:pt modelId="{F11F9842-BB45-4D28-ABEF-579C14AECFBB}" type="sibTrans" cxnId="{CFD203C6-4E0E-4187-B6DA-4178872C395E}">
      <dgm:prSet/>
      <dgm:spPr/>
      <dgm:t>
        <a:bodyPr/>
        <a:lstStyle/>
        <a:p>
          <a:endParaRPr lang="zh-CN" altLang="en-US"/>
        </a:p>
      </dgm:t>
    </dgm:pt>
    <dgm:pt modelId="{07976E3B-B80B-463A-9EF5-D60B5434436E}">
      <dgm:prSet/>
      <dgm:spPr>
        <a:solidFill>
          <a:srgbClr val="7030A0"/>
        </a:solidFill>
      </dgm:spPr>
      <dgm:t>
        <a:bodyPr/>
        <a:lstStyle/>
        <a:p>
          <a:r>
            <a:rPr lang="zh-CN" altLang="en-US" dirty="0" smtClean="0"/>
            <a:t>数据表</a:t>
          </a:r>
          <a:endParaRPr lang="zh-CN" altLang="en-US" dirty="0"/>
        </a:p>
      </dgm:t>
    </dgm:pt>
    <dgm:pt modelId="{312D3E7B-9E0E-4FB4-BFF0-EA2DA4ED43FE}" type="parTrans" cxnId="{76659BC0-26CF-4F0F-AD13-41961EF5ACA3}">
      <dgm:prSet/>
      <dgm:spPr/>
      <dgm:t>
        <a:bodyPr/>
        <a:lstStyle/>
        <a:p>
          <a:endParaRPr lang="zh-CN" altLang="en-US"/>
        </a:p>
      </dgm:t>
    </dgm:pt>
    <dgm:pt modelId="{5D8E96EB-A11C-49E9-A8BA-75DC8C9F4144}" type="sibTrans" cxnId="{76659BC0-26CF-4F0F-AD13-41961EF5ACA3}">
      <dgm:prSet/>
      <dgm:spPr/>
      <dgm:t>
        <a:bodyPr/>
        <a:lstStyle/>
        <a:p>
          <a:endParaRPr lang="zh-CN" altLang="en-US"/>
        </a:p>
      </dgm:t>
    </dgm:pt>
    <dgm:pt modelId="{89F6BF8C-DEEE-408C-9589-B193D5EB76B1}">
      <dgm:prSet/>
      <dgm:spPr>
        <a:solidFill>
          <a:srgbClr val="7030A0"/>
        </a:solidFill>
      </dgm:spPr>
      <dgm:t>
        <a:bodyPr/>
        <a:lstStyle/>
        <a:p>
          <a:r>
            <a:rPr lang="zh-CN" altLang="en-US" dirty="0" smtClean="0"/>
            <a:t>视图</a:t>
          </a:r>
          <a:endParaRPr lang="zh-CN" altLang="en-US" dirty="0"/>
        </a:p>
      </dgm:t>
    </dgm:pt>
    <dgm:pt modelId="{484C24D7-67A0-41F4-9CB2-2EE70FB833C8}" type="parTrans" cxnId="{6443BA28-1C74-4007-B315-86388FB7A644}">
      <dgm:prSet/>
      <dgm:spPr/>
      <dgm:t>
        <a:bodyPr/>
        <a:lstStyle/>
        <a:p>
          <a:endParaRPr lang="zh-CN" altLang="en-US"/>
        </a:p>
      </dgm:t>
    </dgm:pt>
    <dgm:pt modelId="{1FE48510-925E-4985-B449-EDEC05D604FC}" type="sibTrans" cxnId="{6443BA28-1C74-4007-B315-86388FB7A644}">
      <dgm:prSet/>
      <dgm:spPr/>
      <dgm:t>
        <a:bodyPr/>
        <a:lstStyle/>
        <a:p>
          <a:endParaRPr lang="zh-CN" altLang="en-US"/>
        </a:p>
      </dgm:t>
    </dgm:pt>
    <dgm:pt modelId="{0FCBCEC8-38CF-481E-900D-2F2D9E3CF64E}">
      <dgm:prSet/>
      <dgm:spPr>
        <a:solidFill>
          <a:srgbClr val="7030A0"/>
        </a:solidFill>
      </dgm:spPr>
      <dgm:t>
        <a:bodyPr/>
        <a:lstStyle/>
        <a:p>
          <a:r>
            <a:rPr lang="zh-CN" altLang="en-US" dirty="0" smtClean="0"/>
            <a:t>接口</a:t>
          </a:r>
          <a:endParaRPr lang="zh-CN" altLang="en-US" dirty="0"/>
        </a:p>
      </dgm:t>
    </dgm:pt>
    <dgm:pt modelId="{01030E42-770A-4323-AD54-269ACE6BCA54}" type="parTrans" cxnId="{A01168A6-E7DA-4F0E-BE4B-770C27EA0D11}">
      <dgm:prSet/>
      <dgm:spPr/>
      <dgm:t>
        <a:bodyPr/>
        <a:lstStyle/>
        <a:p>
          <a:endParaRPr lang="zh-CN" altLang="en-US"/>
        </a:p>
      </dgm:t>
    </dgm:pt>
    <dgm:pt modelId="{8E6FA981-AD85-47E8-BCA2-6D4A45B7EE7D}" type="sibTrans" cxnId="{A01168A6-E7DA-4F0E-BE4B-770C27EA0D11}">
      <dgm:prSet/>
      <dgm:spPr/>
      <dgm:t>
        <a:bodyPr/>
        <a:lstStyle/>
        <a:p>
          <a:endParaRPr lang="zh-CN" altLang="en-US"/>
        </a:p>
      </dgm:t>
    </dgm:pt>
    <dgm:pt modelId="{5ACF83A4-6230-4A92-B8A7-15394BA34943}">
      <dgm:prSet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r>
            <a:rPr lang="zh-CN" altLang="en-US" b="1" cap="none" spc="50" dirty="0" smtClean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rPr>
            <a:t>应用层</a:t>
          </a:r>
          <a:endParaRPr lang="zh-CN" altLang="en-US" b="1" cap="none" spc="50" dirty="0">
            <a:ln w="11430"/>
            <a:solidFill>
              <a:srgbClr val="003F56"/>
            </a:soli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A4E537FB-947A-453A-BF43-C47AD74759D5}" type="parTrans" cxnId="{9A011670-41AE-44E1-AA7C-BA598003472A}">
      <dgm:prSet/>
      <dgm:spPr/>
      <dgm:t>
        <a:bodyPr/>
        <a:lstStyle/>
        <a:p>
          <a:endParaRPr lang="zh-CN" altLang="en-US"/>
        </a:p>
      </dgm:t>
    </dgm:pt>
    <dgm:pt modelId="{716E13CB-6CBB-49FD-80F8-A719B206B0A9}" type="sibTrans" cxnId="{9A011670-41AE-44E1-AA7C-BA598003472A}">
      <dgm:prSet/>
      <dgm:spPr/>
      <dgm:t>
        <a:bodyPr/>
        <a:lstStyle/>
        <a:p>
          <a:endParaRPr lang="zh-CN" altLang="en-US"/>
        </a:p>
      </dgm:t>
    </dgm:pt>
    <dgm:pt modelId="{3D7BB49F-86B9-4B6D-BB0A-95772846601B}">
      <dgm:prSet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r>
            <a:rPr lang="zh-CN" altLang="en-US" b="1" cap="none" spc="50" dirty="0" smtClean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rPr>
            <a:t>实体层</a:t>
          </a:r>
          <a:endParaRPr lang="zh-CN" altLang="en-US" b="1" cap="none" spc="50" dirty="0">
            <a:ln w="11430"/>
            <a:solidFill>
              <a:srgbClr val="003F56"/>
            </a:soli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903D9263-61BF-49F4-A0B4-0FCB62E7412B}" type="parTrans" cxnId="{20341CDE-43E5-4953-8FE6-C7F68ACA2741}">
      <dgm:prSet/>
      <dgm:spPr/>
      <dgm:t>
        <a:bodyPr/>
        <a:lstStyle/>
        <a:p>
          <a:endParaRPr lang="zh-CN" altLang="en-US"/>
        </a:p>
      </dgm:t>
    </dgm:pt>
    <dgm:pt modelId="{25EDA4B1-2B11-4572-8FF1-45F4C4907532}" type="sibTrans" cxnId="{20341CDE-43E5-4953-8FE6-C7F68ACA2741}">
      <dgm:prSet/>
      <dgm:spPr/>
      <dgm:t>
        <a:bodyPr/>
        <a:lstStyle/>
        <a:p>
          <a:endParaRPr lang="zh-CN" altLang="en-US"/>
        </a:p>
      </dgm:t>
    </dgm:pt>
    <dgm:pt modelId="{927B4477-4180-4D03-A839-4CD00748E2F5}">
      <dgm:prSet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zh-CN" altLang="en-US" dirty="0" smtClean="0"/>
            <a:t>枚举定义</a:t>
          </a:r>
          <a:endParaRPr lang="zh-CN" altLang="en-US" dirty="0"/>
        </a:p>
      </dgm:t>
    </dgm:pt>
    <dgm:pt modelId="{FBE1BFFC-CAD5-4700-B6CE-A86D3531CE3B}" type="parTrans" cxnId="{33C21E62-C7AE-45F6-81B1-193D6E288FEB}">
      <dgm:prSet/>
      <dgm:spPr/>
      <dgm:t>
        <a:bodyPr/>
        <a:lstStyle/>
        <a:p>
          <a:endParaRPr lang="zh-CN" altLang="en-US"/>
        </a:p>
      </dgm:t>
    </dgm:pt>
    <dgm:pt modelId="{D9542914-7603-4499-99D3-615597BDB933}" type="sibTrans" cxnId="{33C21E62-C7AE-45F6-81B1-193D6E288FEB}">
      <dgm:prSet/>
      <dgm:spPr/>
      <dgm:t>
        <a:bodyPr/>
        <a:lstStyle/>
        <a:p>
          <a:endParaRPr lang="zh-CN" altLang="en-US"/>
        </a:p>
      </dgm:t>
    </dgm:pt>
    <dgm:pt modelId="{DE9C9704-E57D-4D22-B058-EEC02F0D4156}">
      <dgm:prSet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zh-CN" altLang="en-US" dirty="0" smtClean="0"/>
            <a:t>实体定义</a:t>
          </a:r>
          <a:endParaRPr lang="zh-CN" altLang="en-US" dirty="0"/>
        </a:p>
      </dgm:t>
    </dgm:pt>
    <dgm:pt modelId="{A6013734-EB49-4600-9BF1-B6F6C17506AC}" type="parTrans" cxnId="{DB07836D-23AE-480E-8FA8-A285C0A47DB3}">
      <dgm:prSet/>
      <dgm:spPr/>
      <dgm:t>
        <a:bodyPr/>
        <a:lstStyle/>
        <a:p>
          <a:endParaRPr lang="zh-CN" altLang="en-US"/>
        </a:p>
      </dgm:t>
    </dgm:pt>
    <dgm:pt modelId="{B0C7F6D2-B350-46EA-B00D-8C00E2DA0943}" type="sibTrans" cxnId="{DB07836D-23AE-480E-8FA8-A285C0A47DB3}">
      <dgm:prSet/>
      <dgm:spPr/>
      <dgm:t>
        <a:bodyPr/>
        <a:lstStyle/>
        <a:p>
          <a:endParaRPr lang="zh-CN" altLang="en-US"/>
        </a:p>
      </dgm:t>
    </dgm:pt>
    <dgm:pt modelId="{D1BCD426-E639-41CE-B75A-38D5DBAF0EF4}">
      <dgm:prSet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zh-CN" altLang="en-US" dirty="0" smtClean="0"/>
            <a:t>编码规则</a:t>
          </a:r>
          <a:endParaRPr lang="zh-CN" altLang="en-US" dirty="0"/>
        </a:p>
      </dgm:t>
    </dgm:pt>
    <dgm:pt modelId="{D581878B-53B6-4B4C-BFA1-5C6206F9655A}" type="parTrans" cxnId="{E957DE02-E628-4D64-8ADE-0005D9AD8BF3}">
      <dgm:prSet/>
      <dgm:spPr/>
      <dgm:t>
        <a:bodyPr/>
        <a:lstStyle/>
        <a:p>
          <a:endParaRPr lang="zh-CN" altLang="en-US"/>
        </a:p>
      </dgm:t>
    </dgm:pt>
    <dgm:pt modelId="{EC9E1E29-11BF-4CA2-A0EC-84D875B30FC1}" type="sibTrans" cxnId="{E957DE02-E628-4D64-8ADE-0005D9AD8BF3}">
      <dgm:prSet/>
      <dgm:spPr/>
      <dgm:t>
        <a:bodyPr/>
        <a:lstStyle/>
        <a:p>
          <a:endParaRPr lang="zh-CN" altLang="en-US"/>
        </a:p>
      </dgm:t>
    </dgm:pt>
    <dgm:pt modelId="{C137752D-55AD-43BB-A46A-308A874464D2}">
      <dgm:prSet/>
      <dgm:spPr>
        <a:solidFill>
          <a:srgbClr val="7030A0"/>
        </a:solidFill>
      </dgm:spPr>
      <dgm:t>
        <a:bodyPr/>
        <a:lstStyle/>
        <a:p>
          <a:r>
            <a:rPr lang="zh-CN" altLang="en-US" dirty="0" smtClean="0"/>
            <a:t>缓存数据</a:t>
          </a:r>
          <a:endParaRPr lang="zh-CN" altLang="en-US" dirty="0"/>
        </a:p>
      </dgm:t>
    </dgm:pt>
    <dgm:pt modelId="{68348DEB-FD67-4630-8C0C-7DF8C26DB847}" type="parTrans" cxnId="{C3887930-9022-4CC5-A89E-F388C2C8E6A5}">
      <dgm:prSet/>
      <dgm:spPr/>
      <dgm:t>
        <a:bodyPr/>
        <a:lstStyle/>
        <a:p>
          <a:endParaRPr lang="zh-CN" altLang="en-US"/>
        </a:p>
      </dgm:t>
    </dgm:pt>
    <dgm:pt modelId="{864E8826-50F8-43DA-91E6-B5FA3514A717}" type="sibTrans" cxnId="{C3887930-9022-4CC5-A89E-F388C2C8E6A5}">
      <dgm:prSet/>
      <dgm:spPr/>
      <dgm:t>
        <a:bodyPr/>
        <a:lstStyle/>
        <a:p>
          <a:endParaRPr lang="zh-CN" altLang="en-US"/>
        </a:p>
      </dgm:t>
    </dgm:pt>
    <dgm:pt modelId="{B111E555-F15C-491D-A189-0312782E3A7C}">
      <dgm:prSet/>
      <dgm:spPr>
        <a:solidFill>
          <a:srgbClr val="002060"/>
        </a:solidFill>
      </dgm:spPr>
      <dgm:t>
        <a:bodyPr/>
        <a:lstStyle/>
        <a:p>
          <a:r>
            <a:rPr lang="zh-CN" altLang="en-US" dirty="0" smtClean="0"/>
            <a:t>数据导出</a:t>
          </a:r>
          <a:endParaRPr lang="zh-CN" altLang="en-US" dirty="0"/>
        </a:p>
      </dgm:t>
    </dgm:pt>
    <dgm:pt modelId="{C88F409D-AAB8-4CE8-98F1-C746F23AF248}" type="parTrans" cxnId="{44C622AC-5B30-4ED7-A5DA-063E9D0C8BCC}">
      <dgm:prSet/>
      <dgm:spPr/>
      <dgm:t>
        <a:bodyPr/>
        <a:lstStyle/>
        <a:p>
          <a:endParaRPr lang="zh-CN" altLang="en-US"/>
        </a:p>
      </dgm:t>
    </dgm:pt>
    <dgm:pt modelId="{5EC9AF23-AEC8-4B3C-A7A5-02DAD852D9DC}" type="sibTrans" cxnId="{44C622AC-5B30-4ED7-A5DA-063E9D0C8BCC}">
      <dgm:prSet/>
      <dgm:spPr/>
      <dgm:t>
        <a:bodyPr/>
        <a:lstStyle/>
        <a:p>
          <a:endParaRPr lang="zh-CN" altLang="en-US"/>
        </a:p>
      </dgm:t>
    </dgm:pt>
    <dgm:pt modelId="{ADD7079B-D74B-46F2-8138-59A369302AE0}">
      <dgm:prSet/>
      <dgm:spPr>
        <a:solidFill>
          <a:srgbClr val="002060"/>
        </a:solidFill>
      </dgm:spPr>
      <dgm:t>
        <a:bodyPr/>
        <a:lstStyle/>
        <a:p>
          <a:r>
            <a:rPr lang="zh-CN" altLang="en-US" dirty="0" smtClean="0"/>
            <a:t>消息通知</a:t>
          </a:r>
          <a:endParaRPr lang="zh-CN" altLang="en-US" dirty="0"/>
        </a:p>
      </dgm:t>
    </dgm:pt>
    <dgm:pt modelId="{0F00B9D4-035C-4F7D-AF4C-702C96A587B7}" type="parTrans" cxnId="{BF61CF8F-5355-43B4-92F3-CF425DFD95F0}">
      <dgm:prSet/>
      <dgm:spPr/>
      <dgm:t>
        <a:bodyPr/>
        <a:lstStyle/>
        <a:p>
          <a:endParaRPr lang="zh-CN" altLang="en-US"/>
        </a:p>
      </dgm:t>
    </dgm:pt>
    <dgm:pt modelId="{AE5CF57B-4A1C-4D6D-B8E6-C89030FF12E8}" type="sibTrans" cxnId="{BF61CF8F-5355-43B4-92F3-CF425DFD95F0}">
      <dgm:prSet/>
      <dgm:spPr/>
      <dgm:t>
        <a:bodyPr/>
        <a:lstStyle/>
        <a:p>
          <a:endParaRPr lang="zh-CN" altLang="en-US"/>
        </a:p>
      </dgm:t>
    </dgm:pt>
    <dgm:pt modelId="{E9378757-8576-4382-A923-A5ED7D1031D2}">
      <dgm:prSet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US" altLang="zh-CN" dirty="0" smtClean="0"/>
            <a:t>ORM</a:t>
          </a:r>
          <a:endParaRPr lang="zh-CN" altLang="en-US" dirty="0"/>
        </a:p>
      </dgm:t>
    </dgm:pt>
    <dgm:pt modelId="{36332FB2-186F-4CD6-B536-7BA894AD9EA2}" type="parTrans" cxnId="{E217D868-8CA3-4683-8931-4C2A61237C3B}">
      <dgm:prSet/>
      <dgm:spPr/>
      <dgm:t>
        <a:bodyPr/>
        <a:lstStyle/>
        <a:p>
          <a:endParaRPr lang="zh-CN" altLang="en-US"/>
        </a:p>
      </dgm:t>
    </dgm:pt>
    <dgm:pt modelId="{6D21BC8D-F943-46D5-9B5F-F777ACE07107}" type="sibTrans" cxnId="{E217D868-8CA3-4683-8931-4C2A61237C3B}">
      <dgm:prSet/>
      <dgm:spPr/>
      <dgm:t>
        <a:bodyPr/>
        <a:lstStyle/>
        <a:p>
          <a:endParaRPr lang="zh-CN" altLang="en-US"/>
        </a:p>
      </dgm:t>
    </dgm:pt>
    <dgm:pt modelId="{F1058F68-FADF-451D-BD21-C25D5215408B}">
      <dgm:prSet/>
      <dgm:spPr>
        <a:solidFill>
          <a:srgbClr val="00B050"/>
        </a:solidFill>
      </dgm:spPr>
      <dgm:t>
        <a:bodyPr/>
        <a:lstStyle/>
        <a:p>
          <a:r>
            <a:rPr lang="en-US" altLang="zh-CN" dirty="0" smtClean="0"/>
            <a:t>Mvc</a:t>
          </a:r>
          <a:endParaRPr lang="zh-CN" altLang="en-US" dirty="0"/>
        </a:p>
      </dgm:t>
    </dgm:pt>
    <dgm:pt modelId="{BCAC0D23-3736-4F7E-8DF5-3B222CDC62D2}" type="parTrans" cxnId="{CAF7BD45-4ED5-4C14-916A-AE3EFBA88D01}">
      <dgm:prSet/>
      <dgm:spPr/>
      <dgm:t>
        <a:bodyPr/>
        <a:lstStyle/>
        <a:p>
          <a:endParaRPr lang="zh-CN" altLang="en-US"/>
        </a:p>
      </dgm:t>
    </dgm:pt>
    <dgm:pt modelId="{26224010-B5CE-44EC-A819-4334A68B7DF3}" type="sibTrans" cxnId="{CAF7BD45-4ED5-4C14-916A-AE3EFBA88D01}">
      <dgm:prSet/>
      <dgm:spPr/>
      <dgm:t>
        <a:bodyPr/>
        <a:lstStyle/>
        <a:p>
          <a:endParaRPr lang="zh-CN" altLang="en-US"/>
        </a:p>
      </dgm:t>
    </dgm:pt>
    <dgm:pt modelId="{62CC9774-10E1-490B-B9FF-57E215FFC0C9}">
      <dgm:prSet/>
      <dgm:spPr>
        <a:solidFill>
          <a:srgbClr val="00B050"/>
        </a:solidFill>
      </dgm:spPr>
      <dgm:t>
        <a:bodyPr/>
        <a:lstStyle/>
        <a:p>
          <a:r>
            <a:rPr lang="zh-CN" altLang="en-US" dirty="0" smtClean="0"/>
            <a:t>数据转换</a:t>
          </a:r>
          <a:endParaRPr lang="zh-CN" altLang="en-US" dirty="0"/>
        </a:p>
      </dgm:t>
    </dgm:pt>
    <dgm:pt modelId="{24391FE5-4D40-4610-93E3-47087FC06FD7}" type="parTrans" cxnId="{8002F512-C5CB-47B3-963A-12DB8BCB2292}">
      <dgm:prSet/>
      <dgm:spPr/>
      <dgm:t>
        <a:bodyPr/>
        <a:lstStyle/>
        <a:p>
          <a:endParaRPr lang="zh-CN" altLang="en-US"/>
        </a:p>
      </dgm:t>
    </dgm:pt>
    <dgm:pt modelId="{FECF3553-5009-47BC-9604-3F0CF0903177}" type="sibTrans" cxnId="{8002F512-C5CB-47B3-963A-12DB8BCB2292}">
      <dgm:prSet/>
      <dgm:spPr/>
      <dgm:t>
        <a:bodyPr/>
        <a:lstStyle/>
        <a:p>
          <a:endParaRPr lang="zh-CN" altLang="en-US"/>
        </a:p>
      </dgm:t>
    </dgm:pt>
    <dgm:pt modelId="{E57B03E9-5910-4523-8D54-0C6C061A0117}">
      <dgm:prSet/>
      <dgm:spPr>
        <a:solidFill>
          <a:srgbClr val="00B050"/>
        </a:solidFill>
      </dgm:spPr>
      <dgm:t>
        <a:bodyPr/>
        <a:lstStyle/>
        <a:p>
          <a:r>
            <a:rPr lang="zh-CN" altLang="en-US" dirty="0" smtClean="0"/>
            <a:t>上传下</a:t>
          </a:r>
          <a:r>
            <a:rPr lang="zh-CN" altLang="en-US" dirty="0" smtClean="0"/>
            <a:t>载</a:t>
          </a:r>
          <a:endParaRPr lang="zh-CN" altLang="en-US" dirty="0"/>
        </a:p>
      </dgm:t>
    </dgm:pt>
    <dgm:pt modelId="{63DD5940-25B7-4251-BE32-FD79E63F4326}" type="parTrans" cxnId="{DDB4B292-3E36-429F-AB00-633F28CBE225}">
      <dgm:prSet/>
      <dgm:spPr/>
      <dgm:t>
        <a:bodyPr/>
        <a:lstStyle/>
        <a:p>
          <a:endParaRPr lang="zh-CN" altLang="en-US"/>
        </a:p>
      </dgm:t>
    </dgm:pt>
    <dgm:pt modelId="{2078A029-378C-4654-BE09-0E7C0F1C3F78}" type="sibTrans" cxnId="{DDB4B292-3E36-429F-AB00-633F28CBE225}">
      <dgm:prSet/>
      <dgm:spPr/>
      <dgm:t>
        <a:bodyPr/>
        <a:lstStyle/>
        <a:p>
          <a:endParaRPr lang="zh-CN" altLang="en-US"/>
        </a:p>
      </dgm:t>
    </dgm:pt>
    <dgm:pt modelId="{C5B18D20-4DBC-449F-B91B-EC78B800BC69}">
      <dgm:prSet/>
      <dgm:spPr>
        <a:solidFill>
          <a:srgbClr val="00B050"/>
        </a:solidFill>
      </dgm:spPr>
      <dgm:t>
        <a:bodyPr/>
        <a:lstStyle/>
        <a:p>
          <a:r>
            <a:rPr lang="zh-CN" altLang="en-US" dirty="0" smtClean="0"/>
            <a:t>异常捕获</a:t>
          </a:r>
          <a:endParaRPr lang="zh-CN" altLang="en-US" dirty="0"/>
        </a:p>
      </dgm:t>
    </dgm:pt>
    <dgm:pt modelId="{418D672F-9470-469D-A5DF-AC0EDC3652CC}" type="parTrans" cxnId="{DE6072A7-4B77-4867-9B71-2483C43339C9}">
      <dgm:prSet/>
      <dgm:spPr/>
      <dgm:t>
        <a:bodyPr/>
        <a:lstStyle/>
        <a:p>
          <a:endParaRPr lang="zh-CN" altLang="en-US"/>
        </a:p>
      </dgm:t>
    </dgm:pt>
    <dgm:pt modelId="{7869993B-6F66-4423-9B4B-31883EF24943}" type="sibTrans" cxnId="{DE6072A7-4B77-4867-9B71-2483C43339C9}">
      <dgm:prSet/>
      <dgm:spPr/>
      <dgm:t>
        <a:bodyPr/>
        <a:lstStyle/>
        <a:p>
          <a:endParaRPr lang="zh-CN" altLang="en-US"/>
        </a:p>
      </dgm:t>
    </dgm:pt>
    <dgm:pt modelId="{5BC49F33-333A-4710-9EE0-99F800BE1853}">
      <dgm:prSet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zh-CN" altLang="en-US" dirty="0" smtClean="0"/>
            <a:t>母版样式</a:t>
          </a:r>
          <a:endParaRPr lang="zh-CN" altLang="en-US" dirty="0"/>
        </a:p>
      </dgm:t>
    </dgm:pt>
    <dgm:pt modelId="{C332F55D-6421-4995-A55B-E3061B4B3223}" type="parTrans" cxnId="{5BF11218-9ED1-446D-8025-7A615F2F6223}">
      <dgm:prSet/>
      <dgm:spPr/>
      <dgm:t>
        <a:bodyPr/>
        <a:lstStyle/>
        <a:p>
          <a:endParaRPr lang="zh-CN" altLang="en-US"/>
        </a:p>
      </dgm:t>
    </dgm:pt>
    <dgm:pt modelId="{9AFF4C18-9FBE-4654-AF0D-F2A50A57C089}" type="sibTrans" cxnId="{5BF11218-9ED1-446D-8025-7A615F2F6223}">
      <dgm:prSet/>
      <dgm:spPr/>
      <dgm:t>
        <a:bodyPr/>
        <a:lstStyle/>
        <a:p>
          <a:endParaRPr lang="zh-CN" altLang="en-US"/>
        </a:p>
      </dgm:t>
    </dgm:pt>
    <dgm:pt modelId="{539EE016-4987-423A-9503-F76C0D206C08}" type="pres">
      <dgm:prSet presAssocID="{F355AFB5-CA72-4E66-85F8-7588F7EDACF8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47C99BF1-C18D-47AD-B1B2-30502B7E6277}" type="pres">
      <dgm:prSet presAssocID="{07DEA9AC-FC24-4B48-8FBC-69554222DB8A}" presName="compNode" presStyleCnt="0"/>
      <dgm:spPr/>
      <dgm:t>
        <a:bodyPr/>
        <a:lstStyle/>
        <a:p>
          <a:endParaRPr lang="zh-CN" altLang="en-US"/>
        </a:p>
      </dgm:t>
    </dgm:pt>
    <dgm:pt modelId="{F81C72FE-3E5E-4008-B457-285A468774AC}" type="pres">
      <dgm:prSet presAssocID="{07DEA9AC-FC24-4B48-8FBC-69554222DB8A}" presName="aNode" presStyleLbl="bgShp" presStyleIdx="0" presStyleCnt="5"/>
      <dgm:spPr/>
      <dgm:t>
        <a:bodyPr/>
        <a:lstStyle/>
        <a:p>
          <a:endParaRPr lang="zh-CN" altLang="en-US"/>
        </a:p>
      </dgm:t>
    </dgm:pt>
    <dgm:pt modelId="{F672A4F3-022D-46A7-8FA4-6F397FCA1268}" type="pres">
      <dgm:prSet presAssocID="{07DEA9AC-FC24-4B48-8FBC-69554222DB8A}" presName="textNode" presStyleLbl="bgShp" presStyleIdx="0" presStyleCnt="5"/>
      <dgm:spPr/>
      <dgm:t>
        <a:bodyPr/>
        <a:lstStyle/>
        <a:p>
          <a:endParaRPr lang="zh-CN" altLang="en-US"/>
        </a:p>
      </dgm:t>
    </dgm:pt>
    <dgm:pt modelId="{8AA99B3F-84C6-4724-B3F0-80D2B8AB88FF}" type="pres">
      <dgm:prSet presAssocID="{07DEA9AC-FC24-4B48-8FBC-69554222DB8A}" presName="compChildNode" presStyleCnt="0"/>
      <dgm:spPr/>
      <dgm:t>
        <a:bodyPr/>
        <a:lstStyle/>
        <a:p>
          <a:endParaRPr lang="zh-CN" altLang="en-US"/>
        </a:p>
      </dgm:t>
    </dgm:pt>
    <dgm:pt modelId="{5B4C3D5F-58BE-41E3-8BB3-118CA76D3250}" type="pres">
      <dgm:prSet presAssocID="{07DEA9AC-FC24-4B48-8FBC-69554222DB8A}" presName="theInnerList" presStyleCnt="0"/>
      <dgm:spPr/>
      <dgm:t>
        <a:bodyPr/>
        <a:lstStyle/>
        <a:p>
          <a:endParaRPr lang="zh-CN" altLang="en-US"/>
        </a:p>
      </dgm:t>
    </dgm:pt>
    <dgm:pt modelId="{4227300F-B4FA-4A1E-A838-065E1FA176D9}" type="pres">
      <dgm:prSet presAssocID="{2365A026-5695-444C-8F7F-9B61A845D1BA}" presName="childNode" presStyleLbl="node1" presStyleIdx="0" presStyleCnt="2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44D24E4-5894-400C-AE1C-340D9E4F4DFA}" type="pres">
      <dgm:prSet presAssocID="{2365A026-5695-444C-8F7F-9B61A845D1BA}" presName="aSpace2" presStyleCnt="0"/>
      <dgm:spPr/>
      <dgm:t>
        <a:bodyPr/>
        <a:lstStyle/>
        <a:p>
          <a:endParaRPr lang="zh-CN" altLang="en-US"/>
        </a:p>
      </dgm:t>
    </dgm:pt>
    <dgm:pt modelId="{7C40DF22-A932-4016-A972-5CB049D63C59}" type="pres">
      <dgm:prSet presAssocID="{5BC49F33-333A-4710-9EE0-99F800BE1853}" presName="childNode" presStyleLbl="node1" presStyleIdx="1" presStyleCnt="2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844E842-0B61-48C6-9E61-F74607BD8546}" type="pres">
      <dgm:prSet presAssocID="{5BC49F33-333A-4710-9EE0-99F800BE1853}" presName="aSpace2" presStyleCnt="0"/>
      <dgm:spPr/>
      <dgm:t>
        <a:bodyPr/>
        <a:lstStyle/>
        <a:p>
          <a:endParaRPr lang="zh-CN" altLang="en-US"/>
        </a:p>
      </dgm:t>
    </dgm:pt>
    <dgm:pt modelId="{69BBA67D-A899-4F38-875D-3D3F29C8B498}" type="pres">
      <dgm:prSet presAssocID="{13DAA042-6A82-42DA-8D0C-9AF49B4E5BBB}" presName="childNode" presStyleLbl="node1" presStyleIdx="2" presStyleCnt="2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A7D985D-9E67-4946-AB26-ED0CB8B034DC}" type="pres">
      <dgm:prSet presAssocID="{13DAA042-6A82-42DA-8D0C-9AF49B4E5BBB}" presName="aSpace2" presStyleCnt="0"/>
      <dgm:spPr/>
      <dgm:t>
        <a:bodyPr/>
        <a:lstStyle/>
        <a:p>
          <a:endParaRPr lang="zh-CN" altLang="en-US"/>
        </a:p>
      </dgm:t>
    </dgm:pt>
    <dgm:pt modelId="{D516759E-99C0-4473-9E04-EBFB7926DA71}" type="pres">
      <dgm:prSet presAssocID="{3F9579A2-6C76-44C0-9D35-56C630BE78E3}" presName="childNode" presStyleLbl="node1" presStyleIdx="3" presStyleCnt="2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2C53741-5BD4-4859-B7A4-9D842E5AFB8D}" type="pres">
      <dgm:prSet presAssocID="{07DEA9AC-FC24-4B48-8FBC-69554222DB8A}" presName="aSpace" presStyleCnt="0"/>
      <dgm:spPr/>
      <dgm:t>
        <a:bodyPr/>
        <a:lstStyle/>
        <a:p>
          <a:endParaRPr lang="zh-CN" altLang="en-US"/>
        </a:p>
      </dgm:t>
    </dgm:pt>
    <dgm:pt modelId="{A1BA1698-EEA7-4CA2-B43A-909AB32AC137}" type="pres">
      <dgm:prSet presAssocID="{5ACF83A4-6230-4A92-B8A7-15394BA34943}" presName="compNode" presStyleCnt="0"/>
      <dgm:spPr/>
      <dgm:t>
        <a:bodyPr/>
        <a:lstStyle/>
        <a:p>
          <a:endParaRPr lang="zh-CN" altLang="en-US"/>
        </a:p>
      </dgm:t>
    </dgm:pt>
    <dgm:pt modelId="{D67617ED-4E7D-4ED2-A4D5-B39643A02074}" type="pres">
      <dgm:prSet presAssocID="{5ACF83A4-6230-4A92-B8A7-15394BA34943}" presName="aNode" presStyleLbl="bgShp" presStyleIdx="1" presStyleCnt="5"/>
      <dgm:spPr/>
      <dgm:t>
        <a:bodyPr/>
        <a:lstStyle/>
        <a:p>
          <a:endParaRPr lang="zh-CN" altLang="en-US"/>
        </a:p>
      </dgm:t>
    </dgm:pt>
    <dgm:pt modelId="{11430701-CF7E-4653-B89A-0624047BE7E9}" type="pres">
      <dgm:prSet presAssocID="{5ACF83A4-6230-4A92-B8A7-15394BA34943}" presName="textNode" presStyleLbl="bgShp" presStyleIdx="1" presStyleCnt="5"/>
      <dgm:spPr/>
      <dgm:t>
        <a:bodyPr/>
        <a:lstStyle/>
        <a:p>
          <a:endParaRPr lang="zh-CN" altLang="en-US"/>
        </a:p>
      </dgm:t>
    </dgm:pt>
    <dgm:pt modelId="{4B948A1D-8852-46D5-AEDE-9ED1C43F7147}" type="pres">
      <dgm:prSet presAssocID="{5ACF83A4-6230-4A92-B8A7-15394BA34943}" presName="compChildNode" presStyleCnt="0"/>
      <dgm:spPr/>
      <dgm:t>
        <a:bodyPr/>
        <a:lstStyle/>
        <a:p>
          <a:endParaRPr lang="zh-CN" altLang="en-US"/>
        </a:p>
      </dgm:t>
    </dgm:pt>
    <dgm:pt modelId="{20DC7203-3073-4BF7-88AC-06CC6316AC3D}" type="pres">
      <dgm:prSet presAssocID="{5ACF83A4-6230-4A92-B8A7-15394BA34943}" presName="theInnerList" presStyleCnt="0"/>
      <dgm:spPr/>
      <dgm:t>
        <a:bodyPr/>
        <a:lstStyle/>
        <a:p>
          <a:endParaRPr lang="zh-CN" altLang="en-US"/>
        </a:p>
      </dgm:t>
    </dgm:pt>
    <dgm:pt modelId="{CF2ED777-3D35-409B-950B-C73556731C07}" type="pres">
      <dgm:prSet presAssocID="{F1058F68-FADF-451D-BD21-C25D5215408B}" presName="childNode" presStyleLbl="node1" presStyleIdx="4" presStyleCnt="2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AB1B31C-AF32-42EB-85CB-5C1863729407}" type="pres">
      <dgm:prSet presAssocID="{F1058F68-FADF-451D-BD21-C25D5215408B}" presName="aSpace2" presStyleCnt="0"/>
      <dgm:spPr/>
      <dgm:t>
        <a:bodyPr/>
        <a:lstStyle/>
        <a:p>
          <a:endParaRPr lang="zh-CN" altLang="en-US"/>
        </a:p>
      </dgm:t>
    </dgm:pt>
    <dgm:pt modelId="{FA58FFE1-4028-4798-AEAB-C0F253AE4CAF}" type="pres">
      <dgm:prSet presAssocID="{62CC9774-10E1-490B-B9FF-57E215FFC0C9}" presName="childNode" presStyleLbl="node1" presStyleIdx="5" presStyleCnt="2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EAD7405-56D5-440F-AC25-592E7D0A7A73}" type="pres">
      <dgm:prSet presAssocID="{62CC9774-10E1-490B-B9FF-57E215FFC0C9}" presName="aSpace2" presStyleCnt="0"/>
      <dgm:spPr/>
      <dgm:t>
        <a:bodyPr/>
        <a:lstStyle/>
        <a:p>
          <a:endParaRPr lang="zh-CN" altLang="en-US"/>
        </a:p>
      </dgm:t>
    </dgm:pt>
    <dgm:pt modelId="{B42F3274-8BC4-4F83-B85C-ECADE56D2788}" type="pres">
      <dgm:prSet presAssocID="{E57B03E9-5910-4523-8D54-0C6C061A0117}" presName="childNode" presStyleLbl="node1" presStyleIdx="6" presStyleCnt="2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FC13593-4B7C-4347-9249-17CBE579DB44}" type="pres">
      <dgm:prSet presAssocID="{E57B03E9-5910-4523-8D54-0C6C061A0117}" presName="aSpace2" presStyleCnt="0"/>
      <dgm:spPr/>
      <dgm:t>
        <a:bodyPr/>
        <a:lstStyle/>
        <a:p>
          <a:endParaRPr lang="zh-CN" altLang="en-US"/>
        </a:p>
      </dgm:t>
    </dgm:pt>
    <dgm:pt modelId="{2B6ADAD7-568C-4B96-AF54-8B928C072719}" type="pres">
      <dgm:prSet presAssocID="{C5B18D20-4DBC-449F-B91B-EC78B800BC69}" presName="childNode" presStyleLbl="node1" presStyleIdx="7" presStyleCnt="2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8083400-F5C7-48A3-B8BF-E105E442FD90}" type="pres">
      <dgm:prSet presAssocID="{5ACF83A4-6230-4A92-B8A7-15394BA34943}" presName="aSpace" presStyleCnt="0"/>
      <dgm:spPr/>
      <dgm:t>
        <a:bodyPr/>
        <a:lstStyle/>
        <a:p>
          <a:endParaRPr lang="zh-CN" altLang="en-US"/>
        </a:p>
      </dgm:t>
    </dgm:pt>
    <dgm:pt modelId="{29FA19FB-681C-4AF9-9E85-DECB228C078D}" type="pres">
      <dgm:prSet presAssocID="{E997577A-4548-4550-9A35-31EE10849410}" presName="compNode" presStyleCnt="0"/>
      <dgm:spPr/>
      <dgm:t>
        <a:bodyPr/>
        <a:lstStyle/>
        <a:p>
          <a:endParaRPr lang="zh-CN" altLang="en-US"/>
        </a:p>
      </dgm:t>
    </dgm:pt>
    <dgm:pt modelId="{1E561759-9202-4C78-9520-F81139133FEC}" type="pres">
      <dgm:prSet presAssocID="{E997577A-4548-4550-9A35-31EE10849410}" presName="aNode" presStyleLbl="bgShp" presStyleIdx="2" presStyleCnt="5"/>
      <dgm:spPr/>
      <dgm:t>
        <a:bodyPr/>
        <a:lstStyle/>
        <a:p>
          <a:endParaRPr lang="zh-CN" altLang="en-US"/>
        </a:p>
      </dgm:t>
    </dgm:pt>
    <dgm:pt modelId="{C3A160B2-D8FD-44E8-8D98-E71481A6E37D}" type="pres">
      <dgm:prSet presAssocID="{E997577A-4548-4550-9A35-31EE10849410}" presName="textNode" presStyleLbl="bgShp" presStyleIdx="2" presStyleCnt="5"/>
      <dgm:spPr/>
      <dgm:t>
        <a:bodyPr/>
        <a:lstStyle/>
        <a:p>
          <a:endParaRPr lang="zh-CN" altLang="en-US"/>
        </a:p>
      </dgm:t>
    </dgm:pt>
    <dgm:pt modelId="{91081156-998B-4681-BBD9-5FFDFF61E2FE}" type="pres">
      <dgm:prSet presAssocID="{E997577A-4548-4550-9A35-31EE10849410}" presName="compChildNode" presStyleCnt="0"/>
      <dgm:spPr/>
      <dgm:t>
        <a:bodyPr/>
        <a:lstStyle/>
        <a:p>
          <a:endParaRPr lang="zh-CN" altLang="en-US"/>
        </a:p>
      </dgm:t>
    </dgm:pt>
    <dgm:pt modelId="{C013CE34-3020-4EFD-B799-771B48F85CAA}" type="pres">
      <dgm:prSet presAssocID="{E997577A-4548-4550-9A35-31EE10849410}" presName="theInnerList" presStyleCnt="0"/>
      <dgm:spPr/>
      <dgm:t>
        <a:bodyPr/>
        <a:lstStyle/>
        <a:p>
          <a:endParaRPr lang="zh-CN" altLang="en-US"/>
        </a:p>
      </dgm:t>
    </dgm:pt>
    <dgm:pt modelId="{922FE75F-42BA-4D2C-912E-225D726991B8}" type="pres">
      <dgm:prSet presAssocID="{AB1EE4AA-68C6-4062-807B-2562920B63B1}" presName="childNode" presStyleLbl="node1" presStyleIdx="8" presStyleCnt="2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D8CB16C-F928-481E-8C24-3C53D9EB2A8F}" type="pres">
      <dgm:prSet presAssocID="{AB1EE4AA-68C6-4062-807B-2562920B63B1}" presName="aSpace2" presStyleCnt="0"/>
      <dgm:spPr/>
      <dgm:t>
        <a:bodyPr/>
        <a:lstStyle/>
        <a:p>
          <a:endParaRPr lang="zh-CN" altLang="en-US"/>
        </a:p>
      </dgm:t>
    </dgm:pt>
    <dgm:pt modelId="{0BA0A7C3-426E-444B-A0B1-038F6133DDB4}" type="pres">
      <dgm:prSet presAssocID="{B153B0DE-9BB3-4D6B-BB38-70D38FCA7E95}" presName="childNode" presStyleLbl="node1" presStyleIdx="9" presStyleCnt="2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D0B713D-C32B-4B8A-8410-A4AD99B8E6B4}" type="pres">
      <dgm:prSet presAssocID="{B153B0DE-9BB3-4D6B-BB38-70D38FCA7E95}" presName="aSpace2" presStyleCnt="0"/>
      <dgm:spPr/>
      <dgm:t>
        <a:bodyPr/>
        <a:lstStyle/>
        <a:p>
          <a:endParaRPr lang="zh-CN" altLang="en-US"/>
        </a:p>
      </dgm:t>
    </dgm:pt>
    <dgm:pt modelId="{2356D871-C0A1-44F2-B643-68AA4DE2DE04}" type="pres">
      <dgm:prSet presAssocID="{F54658E1-14D2-40CC-A6C5-7C59960A1239}" presName="childNode" presStyleLbl="node1" presStyleIdx="10" presStyleCnt="2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C1AC8C9-B43B-4BD6-8E7F-2B4D8BF38DD9}" type="pres">
      <dgm:prSet presAssocID="{F54658E1-14D2-40CC-A6C5-7C59960A1239}" presName="aSpace2" presStyleCnt="0"/>
      <dgm:spPr/>
      <dgm:t>
        <a:bodyPr/>
        <a:lstStyle/>
        <a:p>
          <a:endParaRPr lang="zh-CN" altLang="en-US"/>
        </a:p>
      </dgm:t>
    </dgm:pt>
    <dgm:pt modelId="{0EB5FF0C-0E08-47FE-AAA6-C0A020B9169E}" type="pres">
      <dgm:prSet presAssocID="{B111E555-F15C-491D-A189-0312782E3A7C}" presName="childNode" presStyleLbl="node1" presStyleIdx="11" presStyleCnt="2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28CFD0B-2B12-4AE1-8947-DFE1D090EB39}" type="pres">
      <dgm:prSet presAssocID="{B111E555-F15C-491D-A189-0312782E3A7C}" presName="aSpace2" presStyleCnt="0"/>
      <dgm:spPr/>
      <dgm:t>
        <a:bodyPr/>
        <a:lstStyle/>
        <a:p>
          <a:endParaRPr lang="zh-CN" altLang="en-US"/>
        </a:p>
      </dgm:t>
    </dgm:pt>
    <dgm:pt modelId="{13E31844-FA3A-4C88-9936-9C4CE2B1BED7}" type="pres">
      <dgm:prSet presAssocID="{ADD7079B-D74B-46F2-8138-59A369302AE0}" presName="childNode" presStyleLbl="node1" presStyleIdx="12" presStyleCnt="2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BF5C689-A4FD-4D25-ADF5-08C9A084EF90}" type="pres">
      <dgm:prSet presAssocID="{E997577A-4548-4550-9A35-31EE10849410}" presName="aSpace" presStyleCnt="0"/>
      <dgm:spPr/>
      <dgm:t>
        <a:bodyPr/>
        <a:lstStyle/>
        <a:p>
          <a:endParaRPr lang="zh-CN" altLang="en-US"/>
        </a:p>
      </dgm:t>
    </dgm:pt>
    <dgm:pt modelId="{948C5EE8-33B1-4699-905E-1708411B204A}" type="pres">
      <dgm:prSet presAssocID="{3D7BB49F-86B9-4B6D-BB0A-95772846601B}" presName="compNode" presStyleCnt="0"/>
      <dgm:spPr/>
      <dgm:t>
        <a:bodyPr/>
        <a:lstStyle/>
        <a:p>
          <a:endParaRPr lang="zh-CN" altLang="en-US"/>
        </a:p>
      </dgm:t>
    </dgm:pt>
    <dgm:pt modelId="{6C1511B2-E477-430F-BBAB-03CD142CC82F}" type="pres">
      <dgm:prSet presAssocID="{3D7BB49F-86B9-4B6D-BB0A-95772846601B}" presName="aNode" presStyleLbl="bgShp" presStyleIdx="3" presStyleCnt="5"/>
      <dgm:spPr/>
      <dgm:t>
        <a:bodyPr/>
        <a:lstStyle/>
        <a:p>
          <a:endParaRPr lang="zh-CN" altLang="en-US"/>
        </a:p>
      </dgm:t>
    </dgm:pt>
    <dgm:pt modelId="{8498589A-15D9-4AA4-AD3B-5D0E4C5B83B9}" type="pres">
      <dgm:prSet presAssocID="{3D7BB49F-86B9-4B6D-BB0A-95772846601B}" presName="textNode" presStyleLbl="bgShp" presStyleIdx="3" presStyleCnt="5"/>
      <dgm:spPr/>
      <dgm:t>
        <a:bodyPr/>
        <a:lstStyle/>
        <a:p>
          <a:endParaRPr lang="zh-CN" altLang="en-US"/>
        </a:p>
      </dgm:t>
    </dgm:pt>
    <dgm:pt modelId="{F6BB23B3-6CD1-40C1-ABF7-F15485628AAB}" type="pres">
      <dgm:prSet presAssocID="{3D7BB49F-86B9-4B6D-BB0A-95772846601B}" presName="compChildNode" presStyleCnt="0"/>
      <dgm:spPr/>
      <dgm:t>
        <a:bodyPr/>
        <a:lstStyle/>
        <a:p>
          <a:endParaRPr lang="zh-CN" altLang="en-US"/>
        </a:p>
      </dgm:t>
    </dgm:pt>
    <dgm:pt modelId="{CC73EC68-B26E-432B-8239-549E41C1BA60}" type="pres">
      <dgm:prSet presAssocID="{3D7BB49F-86B9-4B6D-BB0A-95772846601B}" presName="theInnerList" presStyleCnt="0"/>
      <dgm:spPr/>
      <dgm:t>
        <a:bodyPr/>
        <a:lstStyle/>
        <a:p>
          <a:endParaRPr lang="zh-CN" altLang="en-US"/>
        </a:p>
      </dgm:t>
    </dgm:pt>
    <dgm:pt modelId="{7F54F5FC-123A-428B-876B-2C2F9BDC5CA2}" type="pres">
      <dgm:prSet presAssocID="{E9378757-8576-4382-A923-A5ED7D1031D2}" presName="childNode" presStyleLbl="node1" presStyleIdx="13" presStyleCnt="2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FF62E38-C6DD-4622-8750-9AF0AFFDFC6A}" type="pres">
      <dgm:prSet presAssocID="{E9378757-8576-4382-A923-A5ED7D1031D2}" presName="aSpace2" presStyleCnt="0"/>
      <dgm:spPr/>
      <dgm:t>
        <a:bodyPr/>
        <a:lstStyle/>
        <a:p>
          <a:endParaRPr lang="zh-CN" altLang="en-US"/>
        </a:p>
      </dgm:t>
    </dgm:pt>
    <dgm:pt modelId="{24F08601-EA02-4FE0-8D6E-844B42A9B6A6}" type="pres">
      <dgm:prSet presAssocID="{927B4477-4180-4D03-A839-4CD00748E2F5}" presName="childNode" presStyleLbl="node1" presStyleIdx="14" presStyleCnt="2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49E903F-E4DE-4A46-A369-C74568ECA2F2}" type="pres">
      <dgm:prSet presAssocID="{927B4477-4180-4D03-A839-4CD00748E2F5}" presName="aSpace2" presStyleCnt="0"/>
      <dgm:spPr/>
      <dgm:t>
        <a:bodyPr/>
        <a:lstStyle/>
        <a:p>
          <a:endParaRPr lang="zh-CN" altLang="en-US"/>
        </a:p>
      </dgm:t>
    </dgm:pt>
    <dgm:pt modelId="{EDFA31EE-A8F0-4D99-A41E-F4425F02E585}" type="pres">
      <dgm:prSet presAssocID="{DE9C9704-E57D-4D22-B058-EEC02F0D4156}" presName="childNode" presStyleLbl="node1" presStyleIdx="15" presStyleCnt="2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E1A3D3F-D2BD-4588-B308-5F3AE8918EBF}" type="pres">
      <dgm:prSet presAssocID="{DE9C9704-E57D-4D22-B058-EEC02F0D4156}" presName="aSpace2" presStyleCnt="0"/>
      <dgm:spPr/>
      <dgm:t>
        <a:bodyPr/>
        <a:lstStyle/>
        <a:p>
          <a:endParaRPr lang="zh-CN" altLang="en-US"/>
        </a:p>
      </dgm:t>
    </dgm:pt>
    <dgm:pt modelId="{BFB5D038-007F-4C64-BA66-CC0A5203E0BC}" type="pres">
      <dgm:prSet presAssocID="{D1BCD426-E639-41CE-B75A-38D5DBAF0EF4}" presName="childNode" presStyleLbl="node1" presStyleIdx="16" presStyleCnt="2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E78C63A-727C-437F-A193-0C9F08BE005F}" type="pres">
      <dgm:prSet presAssocID="{3D7BB49F-86B9-4B6D-BB0A-95772846601B}" presName="aSpace" presStyleCnt="0"/>
      <dgm:spPr/>
      <dgm:t>
        <a:bodyPr/>
        <a:lstStyle/>
        <a:p>
          <a:endParaRPr lang="zh-CN" altLang="en-US"/>
        </a:p>
      </dgm:t>
    </dgm:pt>
    <dgm:pt modelId="{E0CA59DE-F580-480D-A70A-271776A667D7}" type="pres">
      <dgm:prSet presAssocID="{21F5ACDF-5253-4CC8-9520-82C625AA0B39}" presName="compNode" presStyleCnt="0"/>
      <dgm:spPr/>
      <dgm:t>
        <a:bodyPr/>
        <a:lstStyle/>
        <a:p>
          <a:endParaRPr lang="zh-CN" altLang="en-US"/>
        </a:p>
      </dgm:t>
    </dgm:pt>
    <dgm:pt modelId="{707BDABC-6D52-4DB5-992D-E1A19007B554}" type="pres">
      <dgm:prSet presAssocID="{21F5ACDF-5253-4CC8-9520-82C625AA0B39}" presName="aNode" presStyleLbl="bgShp" presStyleIdx="4" presStyleCnt="5" custLinFactNeighborX="242" custLinFactNeighborY="-9440"/>
      <dgm:spPr/>
      <dgm:t>
        <a:bodyPr/>
        <a:lstStyle/>
        <a:p>
          <a:endParaRPr lang="zh-CN" altLang="en-US"/>
        </a:p>
      </dgm:t>
    </dgm:pt>
    <dgm:pt modelId="{C8BD87DC-6264-4557-BD4F-6C4336B6EE1C}" type="pres">
      <dgm:prSet presAssocID="{21F5ACDF-5253-4CC8-9520-82C625AA0B39}" presName="textNode" presStyleLbl="bgShp" presStyleIdx="4" presStyleCnt="5"/>
      <dgm:spPr/>
      <dgm:t>
        <a:bodyPr/>
        <a:lstStyle/>
        <a:p>
          <a:endParaRPr lang="zh-CN" altLang="en-US"/>
        </a:p>
      </dgm:t>
    </dgm:pt>
    <dgm:pt modelId="{4E01D3CD-32A2-42A8-B15F-2ABB079BAEE5}" type="pres">
      <dgm:prSet presAssocID="{21F5ACDF-5253-4CC8-9520-82C625AA0B39}" presName="compChildNode" presStyleCnt="0"/>
      <dgm:spPr/>
      <dgm:t>
        <a:bodyPr/>
        <a:lstStyle/>
        <a:p>
          <a:endParaRPr lang="zh-CN" altLang="en-US"/>
        </a:p>
      </dgm:t>
    </dgm:pt>
    <dgm:pt modelId="{3868DC33-2A1C-4DA1-BF1B-D9373118FFB1}" type="pres">
      <dgm:prSet presAssocID="{21F5ACDF-5253-4CC8-9520-82C625AA0B39}" presName="theInnerList" presStyleCnt="0"/>
      <dgm:spPr/>
      <dgm:t>
        <a:bodyPr/>
        <a:lstStyle/>
        <a:p>
          <a:endParaRPr lang="zh-CN" altLang="en-US"/>
        </a:p>
      </dgm:t>
    </dgm:pt>
    <dgm:pt modelId="{B0EEF80F-092C-4AD1-97FB-9AA5E45EE56C}" type="pres">
      <dgm:prSet presAssocID="{07976E3B-B80B-463A-9EF5-D60B5434436E}" presName="childNode" presStyleLbl="node1" presStyleIdx="17" presStyleCnt="2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83D3B54-302B-4A76-9265-1861D72DFDB0}" type="pres">
      <dgm:prSet presAssocID="{07976E3B-B80B-463A-9EF5-D60B5434436E}" presName="aSpace2" presStyleCnt="0"/>
      <dgm:spPr/>
      <dgm:t>
        <a:bodyPr/>
        <a:lstStyle/>
        <a:p>
          <a:endParaRPr lang="zh-CN" altLang="en-US"/>
        </a:p>
      </dgm:t>
    </dgm:pt>
    <dgm:pt modelId="{DD4EAF2D-1F22-4692-AACE-72747D91F744}" type="pres">
      <dgm:prSet presAssocID="{89F6BF8C-DEEE-408C-9589-B193D5EB76B1}" presName="childNode" presStyleLbl="node1" presStyleIdx="18" presStyleCnt="2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F93C720-75DE-4F0B-9E9A-7E37FFC9FB15}" type="pres">
      <dgm:prSet presAssocID="{89F6BF8C-DEEE-408C-9589-B193D5EB76B1}" presName="aSpace2" presStyleCnt="0"/>
      <dgm:spPr/>
      <dgm:t>
        <a:bodyPr/>
        <a:lstStyle/>
        <a:p>
          <a:endParaRPr lang="zh-CN" altLang="en-US"/>
        </a:p>
      </dgm:t>
    </dgm:pt>
    <dgm:pt modelId="{0B7DDE8B-9E99-48AE-878E-A61AC793D8A6}" type="pres">
      <dgm:prSet presAssocID="{0FCBCEC8-38CF-481E-900D-2F2D9E3CF64E}" presName="childNode" presStyleLbl="node1" presStyleIdx="19" presStyleCnt="2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B12B43D-D2E1-44AD-9078-4F978C5B7818}" type="pres">
      <dgm:prSet presAssocID="{0FCBCEC8-38CF-481E-900D-2F2D9E3CF64E}" presName="aSpace2" presStyleCnt="0"/>
      <dgm:spPr/>
      <dgm:t>
        <a:bodyPr/>
        <a:lstStyle/>
        <a:p>
          <a:endParaRPr lang="zh-CN" altLang="en-US"/>
        </a:p>
      </dgm:t>
    </dgm:pt>
    <dgm:pt modelId="{4AEE5089-FB8A-43AC-BF40-804E920A77D7}" type="pres">
      <dgm:prSet presAssocID="{C137752D-55AD-43BB-A46A-308A874464D2}" presName="childNode" presStyleLbl="node1" presStyleIdx="20" presStyleCnt="2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2AE4CB75-BD48-4D30-9468-F63AFEE09B7E}" type="presOf" srcId="{C5B18D20-4DBC-449F-B91B-EC78B800BC69}" destId="{2B6ADAD7-568C-4B96-AF54-8B928C072719}" srcOrd="0" destOrd="0" presId="urn:microsoft.com/office/officeart/2005/8/layout/lProcess2"/>
    <dgm:cxn modelId="{1990824F-0B7F-4172-9121-8C52E7BC6061}" type="presOf" srcId="{F1058F68-FADF-451D-BD21-C25D5215408B}" destId="{CF2ED777-3D35-409B-950B-C73556731C07}" srcOrd="0" destOrd="0" presId="urn:microsoft.com/office/officeart/2005/8/layout/lProcess2"/>
    <dgm:cxn modelId="{EC76750A-F710-46B9-AF4E-582D5E9F4DC6}" type="presOf" srcId="{62CC9774-10E1-490B-B9FF-57E215FFC0C9}" destId="{FA58FFE1-4028-4798-AEAB-C0F253AE4CAF}" srcOrd="0" destOrd="0" presId="urn:microsoft.com/office/officeart/2005/8/layout/lProcess2"/>
    <dgm:cxn modelId="{F6D88E67-8034-40F6-BC77-B8E86639EB23}" type="presOf" srcId="{07DEA9AC-FC24-4B48-8FBC-69554222DB8A}" destId="{F672A4F3-022D-46A7-8FA4-6F397FCA1268}" srcOrd="1" destOrd="0" presId="urn:microsoft.com/office/officeart/2005/8/layout/lProcess2"/>
    <dgm:cxn modelId="{DDB4B292-3E36-429F-AB00-633F28CBE225}" srcId="{5ACF83A4-6230-4A92-B8A7-15394BA34943}" destId="{E57B03E9-5910-4523-8D54-0C6C061A0117}" srcOrd="2" destOrd="0" parTransId="{63DD5940-25B7-4251-BE32-FD79E63F4326}" sibTransId="{2078A029-378C-4654-BE09-0E7C0F1C3F78}"/>
    <dgm:cxn modelId="{36F03C72-AA52-4E03-984F-0AEDE054D500}" type="presOf" srcId="{13DAA042-6A82-42DA-8D0C-9AF49B4E5BBB}" destId="{69BBA67D-A899-4F38-875D-3D3F29C8B498}" srcOrd="0" destOrd="0" presId="urn:microsoft.com/office/officeart/2005/8/layout/lProcess2"/>
    <dgm:cxn modelId="{44C622AC-5B30-4ED7-A5DA-063E9D0C8BCC}" srcId="{E997577A-4548-4550-9A35-31EE10849410}" destId="{B111E555-F15C-491D-A189-0312782E3A7C}" srcOrd="3" destOrd="0" parTransId="{C88F409D-AAB8-4CE8-98F1-C746F23AF248}" sibTransId="{5EC9AF23-AEC8-4B3C-A7A5-02DAD852D9DC}"/>
    <dgm:cxn modelId="{20BD1E28-05CB-4F49-ADBA-97D0794E4779}" type="presOf" srcId="{2365A026-5695-444C-8F7F-9B61A845D1BA}" destId="{4227300F-B4FA-4A1E-A838-065E1FA176D9}" srcOrd="0" destOrd="0" presId="urn:microsoft.com/office/officeart/2005/8/layout/lProcess2"/>
    <dgm:cxn modelId="{3FE27832-14BF-4DCD-B0A4-FB98531575BD}" type="presOf" srcId="{E997577A-4548-4550-9A35-31EE10849410}" destId="{C3A160B2-D8FD-44E8-8D98-E71481A6E37D}" srcOrd="1" destOrd="0" presId="urn:microsoft.com/office/officeart/2005/8/layout/lProcess2"/>
    <dgm:cxn modelId="{9185CE10-C472-40C5-B73E-FD3AEE4DC009}" type="presOf" srcId="{F355AFB5-CA72-4E66-85F8-7588F7EDACF8}" destId="{539EE016-4987-423A-9503-F76C0D206C08}" srcOrd="0" destOrd="0" presId="urn:microsoft.com/office/officeart/2005/8/layout/lProcess2"/>
    <dgm:cxn modelId="{A80FCDBE-D4F6-4FF0-ACF8-341B8D51CAD0}" type="presOf" srcId="{5ACF83A4-6230-4A92-B8A7-15394BA34943}" destId="{11430701-CF7E-4653-B89A-0624047BE7E9}" srcOrd="1" destOrd="0" presId="urn:microsoft.com/office/officeart/2005/8/layout/lProcess2"/>
    <dgm:cxn modelId="{C1478B24-5A1E-498C-831D-6497462134F1}" type="presOf" srcId="{5BC49F33-333A-4710-9EE0-99F800BE1853}" destId="{7C40DF22-A932-4016-A972-5CB049D63C59}" srcOrd="0" destOrd="0" presId="urn:microsoft.com/office/officeart/2005/8/layout/lProcess2"/>
    <dgm:cxn modelId="{9A011670-41AE-44E1-AA7C-BA598003472A}" srcId="{F355AFB5-CA72-4E66-85F8-7588F7EDACF8}" destId="{5ACF83A4-6230-4A92-B8A7-15394BA34943}" srcOrd="1" destOrd="0" parTransId="{A4E537FB-947A-453A-BF43-C47AD74759D5}" sibTransId="{716E13CB-6CBB-49FD-80F8-A719B206B0A9}"/>
    <dgm:cxn modelId="{CCB34C72-DCCC-4B0B-8D82-97F97E7FA4A1}" srcId="{E997577A-4548-4550-9A35-31EE10849410}" destId="{AB1EE4AA-68C6-4062-807B-2562920B63B1}" srcOrd="0" destOrd="0" parTransId="{7FC0A4CD-2EED-4228-83FB-9EF2F4AE045A}" sibTransId="{73BF874F-AE7D-49A4-A6E8-E7E41C8988D6}"/>
    <dgm:cxn modelId="{3CF7E358-F231-440D-8171-ECB760DD0205}" type="presOf" srcId="{07DEA9AC-FC24-4B48-8FBC-69554222DB8A}" destId="{F81C72FE-3E5E-4008-B457-285A468774AC}" srcOrd="0" destOrd="0" presId="urn:microsoft.com/office/officeart/2005/8/layout/lProcess2"/>
    <dgm:cxn modelId="{CAD0DD22-C1E7-4D91-B2C7-876A560437BD}" type="presOf" srcId="{B153B0DE-9BB3-4D6B-BB38-70D38FCA7E95}" destId="{0BA0A7C3-426E-444B-A0B1-038F6133DDB4}" srcOrd="0" destOrd="0" presId="urn:microsoft.com/office/officeart/2005/8/layout/lProcess2"/>
    <dgm:cxn modelId="{F02A4655-6F33-44B3-85EE-F67881BAC153}" type="presOf" srcId="{ADD7079B-D74B-46F2-8138-59A369302AE0}" destId="{13E31844-FA3A-4C88-9936-9C4CE2B1BED7}" srcOrd="0" destOrd="0" presId="urn:microsoft.com/office/officeart/2005/8/layout/lProcess2"/>
    <dgm:cxn modelId="{4D101879-141F-45A4-AE3D-1B3662AF85D6}" type="presOf" srcId="{0FCBCEC8-38CF-481E-900D-2F2D9E3CF64E}" destId="{0B7DDE8B-9E99-48AE-878E-A61AC793D8A6}" srcOrd="0" destOrd="0" presId="urn:microsoft.com/office/officeart/2005/8/layout/lProcess2"/>
    <dgm:cxn modelId="{6D7A3887-BBFC-4D47-93D6-9FB998C282C9}" type="presOf" srcId="{E9378757-8576-4382-A923-A5ED7D1031D2}" destId="{7F54F5FC-123A-428B-876B-2C2F9BDC5CA2}" srcOrd="0" destOrd="0" presId="urn:microsoft.com/office/officeart/2005/8/layout/lProcess2"/>
    <dgm:cxn modelId="{831105EF-F502-476D-A0A4-B9B840A4728B}" type="presOf" srcId="{3F9579A2-6C76-44C0-9D35-56C630BE78E3}" destId="{D516759E-99C0-4473-9E04-EBFB7926DA71}" srcOrd="0" destOrd="0" presId="urn:microsoft.com/office/officeart/2005/8/layout/lProcess2"/>
    <dgm:cxn modelId="{6443BA28-1C74-4007-B315-86388FB7A644}" srcId="{21F5ACDF-5253-4CC8-9520-82C625AA0B39}" destId="{89F6BF8C-DEEE-408C-9589-B193D5EB76B1}" srcOrd="1" destOrd="0" parTransId="{484C24D7-67A0-41F4-9CB2-2EE70FB833C8}" sibTransId="{1FE48510-925E-4985-B449-EDEC05D604FC}"/>
    <dgm:cxn modelId="{43FDDF3F-05C5-48A5-805D-E826D9DC4CB6}" srcId="{E997577A-4548-4550-9A35-31EE10849410}" destId="{F54658E1-14D2-40CC-A6C5-7C59960A1239}" srcOrd="2" destOrd="0" parTransId="{23531FD6-8D2E-405D-AA17-316E9FF8DDBE}" sibTransId="{CFFB9DE3-7CD1-4839-A0FE-E615BC899339}"/>
    <dgm:cxn modelId="{BF61CF8F-5355-43B4-92F3-CF425DFD95F0}" srcId="{E997577A-4548-4550-9A35-31EE10849410}" destId="{ADD7079B-D74B-46F2-8138-59A369302AE0}" srcOrd="4" destOrd="0" parTransId="{0F00B9D4-035C-4F7D-AF4C-702C96A587B7}" sibTransId="{AE5CF57B-4A1C-4D6D-B8E6-C89030FF12E8}"/>
    <dgm:cxn modelId="{51E4084F-94EB-4CAD-B18D-B46475C4A363}" srcId="{07DEA9AC-FC24-4B48-8FBC-69554222DB8A}" destId="{2365A026-5695-444C-8F7F-9B61A845D1BA}" srcOrd="0" destOrd="0" parTransId="{9F17EF17-2F11-4EBD-925C-76EAB26E3C52}" sibTransId="{7FA56855-AE96-43C7-912C-0D0841ABC2FA}"/>
    <dgm:cxn modelId="{F7C439B2-9987-467A-8CB1-2D11252121DD}" srcId="{07DEA9AC-FC24-4B48-8FBC-69554222DB8A}" destId="{13DAA042-6A82-42DA-8D0C-9AF49B4E5BBB}" srcOrd="2" destOrd="0" parTransId="{C7591EBD-A7CF-4341-BA34-02015DF58CD8}" sibTransId="{0650510A-2343-4DEE-A699-BDDFDCD433AC}"/>
    <dgm:cxn modelId="{59C345DC-CC09-4A3F-AD9D-FE5D200F7900}" type="presOf" srcId="{D1BCD426-E639-41CE-B75A-38D5DBAF0EF4}" destId="{BFB5D038-007F-4C64-BA66-CC0A5203E0BC}" srcOrd="0" destOrd="0" presId="urn:microsoft.com/office/officeart/2005/8/layout/lProcess2"/>
    <dgm:cxn modelId="{A01168A6-E7DA-4F0E-BE4B-770C27EA0D11}" srcId="{21F5ACDF-5253-4CC8-9520-82C625AA0B39}" destId="{0FCBCEC8-38CF-481E-900D-2F2D9E3CF64E}" srcOrd="2" destOrd="0" parTransId="{01030E42-770A-4323-AD54-269ACE6BCA54}" sibTransId="{8E6FA981-AD85-47E8-BCA2-6D4A45B7EE7D}"/>
    <dgm:cxn modelId="{73C643D8-FCAE-44C4-A17E-FDF40FDDF2A4}" srcId="{E997577A-4548-4550-9A35-31EE10849410}" destId="{B153B0DE-9BB3-4D6B-BB38-70D38FCA7E95}" srcOrd="1" destOrd="0" parTransId="{3BB8727E-E473-4B5A-B0DD-897861CE5401}" sibTransId="{30775954-7391-4BEB-A213-92701D9E20B4}"/>
    <dgm:cxn modelId="{DE6072A7-4B77-4867-9B71-2483C43339C9}" srcId="{5ACF83A4-6230-4A92-B8A7-15394BA34943}" destId="{C5B18D20-4DBC-449F-B91B-EC78B800BC69}" srcOrd="3" destOrd="0" parTransId="{418D672F-9470-469D-A5DF-AC0EDC3652CC}" sibTransId="{7869993B-6F66-4423-9B4B-31883EF24943}"/>
    <dgm:cxn modelId="{E84B22F5-AB3B-4389-824C-B710ACFBA012}" srcId="{07DEA9AC-FC24-4B48-8FBC-69554222DB8A}" destId="{3F9579A2-6C76-44C0-9D35-56C630BE78E3}" srcOrd="3" destOrd="0" parTransId="{603C0AF7-5A4D-4C11-9BE3-3B2C425EE98D}" sibTransId="{07E5AF73-1140-445B-ABA3-7E6851DAA1ED}"/>
    <dgm:cxn modelId="{E3CF068E-776E-4C7C-8720-3A7663732297}" type="presOf" srcId="{F54658E1-14D2-40CC-A6C5-7C59960A1239}" destId="{2356D871-C0A1-44F2-B643-68AA4DE2DE04}" srcOrd="0" destOrd="0" presId="urn:microsoft.com/office/officeart/2005/8/layout/lProcess2"/>
    <dgm:cxn modelId="{F6689629-EAF4-4BAB-8E8A-68CC658B2E98}" type="presOf" srcId="{B111E555-F15C-491D-A189-0312782E3A7C}" destId="{0EB5FF0C-0E08-47FE-AAA6-C0A020B9169E}" srcOrd="0" destOrd="0" presId="urn:microsoft.com/office/officeart/2005/8/layout/lProcess2"/>
    <dgm:cxn modelId="{8002F512-C5CB-47B3-963A-12DB8BCB2292}" srcId="{5ACF83A4-6230-4A92-B8A7-15394BA34943}" destId="{62CC9774-10E1-490B-B9FF-57E215FFC0C9}" srcOrd="1" destOrd="0" parTransId="{24391FE5-4D40-4610-93E3-47087FC06FD7}" sibTransId="{FECF3553-5009-47BC-9604-3F0CF0903177}"/>
    <dgm:cxn modelId="{9DE702FB-218F-40D0-A772-E4EE0E4265EF}" type="presOf" srcId="{927B4477-4180-4D03-A839-4CD00748E2F5}" destId="{24F08601-EA02-4FE0-8D6E-844B42A9B6A6}" srcOrd="0" destOrd="0" presId="urn:microsoft.com/office/officeart/2005/8/layout/lProcess2"/>
    <dgm:cxn modelId="{7C85D491-CD08-4985-92CA-7928AED2ADA6}" type="presOf" srcId="{AB1EE4AA-68C6-4062-807B-2562920B63B1}" destId="{922FE75F-42BA-4D2C-912E-225D726991B8}" srcOrd="0" destOrd="0" presId="urn:microsoft.com/office/officeart/2005/8/layout/lProcess2"/>
    <dgm:cxn modelId="{000BB568-865A-4CE9-9BFD-C24E935231FA}" type="presOf" srcId="{89F6BF8C-DEEE-408C-9589-B193D5EB76B1}" destId="{DD4EAF2D-1F22-4692-AACE-72747D91F744}" srcOrd="0" destOrd="0" presId="urn:microsoft.com/office/officeart/2005/8/layout/lProcess2"/>
    <dgm:cxn modelId="{5BF11218-9ED1-446D-8025-7A615F2F6223}" srcId="{07DEA9AC-FC24-4B48-8FBC-69554222DB8A}" destId="{5BC49F33-333A-4710-9EE0-99F800BE1853}" srcOrd="1" destOrd="0" parTransId="{C332F55D-6421-4995-A55B-E3061B4B3223}" sibTransId="{9AFF4C18-9FBE-4654-AF0D-F2A50A57C089}"/>
    <dgm:cxn modelId="{76659BC0-26CF-4F0F-AD13-41961EF5ACA3}" srcId="{21F5ACDF-5253-4CC8-9520-82C625AA0B39}" destId="{07976E3B-B80B-463A-9EF5-D60B5434436E}" srcOrd="0" destOrd="0" parTransId="{312D3E7B-9E0E-4FB4-BFF0-EA2DA4ED43FE}" sibTransId="{5D8E96EB-A11C-49E9-A8BA-75DC8C9F4144}"/>
    <dgm:cxn modelId="{E957DE02-E628-4D64-8ADE-0005D9AD8BF3}" srcId="{3D7BB49F-86B9-4B6D-BB0A-95772846601B}" destId="{D1BCD426-E639-41CE-B75A-38D5DBAF0EF4}" srcOrd="3" destOrd="0" parTransId="{D581878B-53B6-4B4C-BFA1-5C6206F9655A}" sibTransId="{EC9E1E29-11BF-4CA2-A0EC-84D875B30FC1}"/>
    <dgm:cxn modelId="{E217D868-8CA3-4683-8931-4C2A61237C3B}" srcId="{3D7BB49F-86B9-4B6D-BB0A-95772846601B}" destId="{E9378757-8576-4382-A923-A5ED7D1031D2}" srcOrd="0" destOrd="0" parTransId="{36332FB2-186F-4CD6-B536-7BA894AD9EA2}" sibTransId="{6D21BC8D-F943-46D5-9B5F-F777ACE07107}"/>
    <dgm:cxn modelId="{1B8B4508-249B-4F8C-99A0-5D855BBCB522}" srcId="{F355AFB5-CA72-4E66-85F8-7588F7EDACF8}" destId="{07DEA9AC-FC24-4B48-8FBC-69554222DB8A}" srcOrd="0" destOrd="0" parTransId="{FB1EC6DF-9052-4D22-8632-AC1AEA9CE6DA}" sibTransId="{0C1E1C25-960B-4679-B593-55086D69D4E8}"/>
    <dgm:cxn modelId="{33C21E62-C7AE-45F6-81B1-193D6E288FEB}" srcId="{3D7BB49F-86B9-4B6D-BB0A-95772846601B}" destId="{927B4477-4180-4D03-A839-4CD00748E2F5}" srcOrd="1" destOrd="0" parTransId="{FBE1BFFC-CAD5-4700-B6CE-A86D3531CE3B}" sibTransId="{D9542914-7603-4499-99D3-615597BDB933}"/>
    <dgm:cxn modelId="{51489498-5A29-4BE0-A110-E4835AEDF117}" type="presOf" srcId="{DE9C9704-E57D-4D22-B058-EEC02F0D4156}" destId="{EDFA31EE-A8F0-4D99-A41E-F4425F02E585}" srcOrd="0" destOrd="0" presId="urn:microsoft.com/office/officeart/2005/8/layout/lProcess2"/>
    <dgm:cxn modelId="{84BC1239-1A84-432E-AC98-B2B5A2ACE134}" srcId="{F355AFB5-CA72-4E66-85F8-7588F7EDACF8}" destId="{E997577A-4548-4550-9A35-31EE10849410}" srcOrd="2" destOrd="0" parTransId="{B70131E2-B950-458B-841E-05039BCAAD40}" sibTransId="{7B4870E3-C734-4538-BC48-0EA2A59133CD}"/>
    <dgm:cxn modelId="{F6D7EF0F-9C37-447A-BCC9-4384F7A19FFE}" type="presOf" srcId="{3D7BB49F-86B9-4B6D-BB0A-95772846601B}" destId="{6C1511B2-E477-430F-BBAB-03CD142CC82F}" srcOrd="0" destOrd="0" presId="urn:microsoft.com/office/officeart/2005/8/layout/lProcess2"/>
    <dgm:cxn modelId="{DB07836D-23AE-480E-8FA8-A285C0A47DB3}" srcId="{3D7BB49F-86B9-4B6D-BB0A-95772846601B}" destId="{DE9C9704-E57D-4D22-B058-EEC02F0D4156}" srcOrd="2" destOrd="0" parTransId="{A6013734-EB49-4600-9BF1-B6F6C17506AC}" sibTransId="{B0C7F6D2-B350-46EA-B00D-8C00E2DA0943}"/>
    <dgm:cxn modelId="{583DF622-99DD-4B2D-B69C-D0A85A092537}" type="presOf" srcId="{21F5ACDF-5253-4CC8-9520-82C625AA0B39}" destId="{707BDABC-6D52-4DB5-992D-E1A19007B554}" srcOrd="0" destOrd="0" presId="urn:microsoft.com/office/officeart/2005/8/layout/lProcess2"/>
    <dgm:cxn modelId="{C3887930-9022-4CC5-A89E-F388C2C8E6A5}" srcId="{21F5ACDF-5253-4CC8-9520-82C625AA0B39}" destId="{C137752D-55AD-43BB-A46A-308A874464D2}" srcOrd="3" destOrd="0" parTransId="{68348DEB-FD67-4630-8C0C-7DF8C26DB847}" sibTransId="{864E8826-50F8-43DA-91E6-B5FA3514A717}"/>
    <dgm:cxn modelId="{CAF7BD45-4ED5-4C14-916A-AE3EFBA88D01}" srcId="{5ACF83A4-6230-4A92-B8A7-15394BA34943}" destId="{F1058F68-FADF-451D-BD21-C25D5215408B}" srcOrd="0" destOrd="0" parTransId="{BCAC0D23-3736-4F7E-8DF5-3B222CDC62D2}" sibTransId="{26224010-B5CE-44EC-A819-4334A68B7DF3}"/>
    <dgm:cxn modelId="{51851971-A24D-48B2-867E-FD0186C952AB}" type="presOf" srcId="{E57B03E9-5910-4523-8D54-0C6C061A0117}" destId="{B42F3274-8BC4-4F83-B85C-ECADE56D2788}" srcOrd="0" destOrd="0" presId="urn:microsoft.com/office/officeart/2005/8/layout/lProcess2"/>
    <dgm:cxn modelId="{CF95830C-7236-45B1-BDFA-703CFF50FC45}" type="presOf" srcId="{E997577A-4548-4550-9A35-31EE10849410}" destId="{1E561759-9202-4C78-9520-F81139133FEC}" srcOrd="0" destOrd="0" presId="urn:microsoft.com/office/officeart/2005/8/layout/lProcess2"/>
    <dgm:cxn modelId="{CFD203C6-4E0E-4187-B6DA-4178872C395E}" srcId="{F355AFB5-CA72-4E66-85F8-7588F7EDACF8}" destId="{21F5ACDF-5253-4CC8-9520-82C625AA0B39}" srcOrd="4" destOrd="0" parTransId="{57112B94-6A77-41F4-B036-1B1880D722C6}" sibTransId="{F11F9842-BB45-4D28-ABEF-579C14AECFBB}"/>
    <dgm:cxn modelId="{954F8EAE-B9F9-4AA1-AD9D-F1A8BD6A1625}" type="presOf" srcId="{3D7BB49F-86B9-4B6D-BB0A-95772846601B}" destId="{8498589A-15D9-4AA4-AD3B-5D0E4C5B83B9}" srcOrd="1" destOrd="0" presId="urn:microsoft.com/office/officeart/2005/8/layout/lProcess2"/>
    <dgm:cxn modelId="{772617DE-42C6-411B-902E-1285EB9E9802}" type="presOf" srcId="{C137752D-55AD-43BB-A46A-308A874464D2}" destId="{4AEE5089-FB8A-43AC-BF40-804E920A77D7}" srcOrd="0" destOrd="0" presId="urn:microsoft.com/office/officeart/2005/8/layout/lProcess2"/>
    <dgm:cxn modelId="{FDCA94AC-34F8-4B72-8A43-24A39CB69AFD}" type="presOf" srcId="{5ACF83A4-6230-4A92-B8A7-15394BA34943}" destId="{D67617ED-4E7D-4ED2-A4D5-B39643A02074}" srcOrd="0" destOrd="0" presId="urn:microsoft.com/office/officeart/2005/8/layout/lProcess2"/>
    <dgm:cxn modelId="{CFCBB0C2-0F28-48DB-8C53-A8FA9D1CE7FD}" type="presOf" srcId="{07976E3B-B80B-463A-9EF5-D60B5434436E}" destId="{B0EEF80F-092C-4AD1-97FB-9AA5E45EE56C}" srcOrd="0" destOrd="0" presId="urn:microsoft.com/office/officeart/2005/8/layout/lProcess2"/>
    <dgm:cxn modelId="{20341CDE-43E5-4953-8FE6-C7F68ACA2741}" srcId="{F355AFB5-CA72-4E66-85F8-7588F7EDACF8}" destId="{3D7BB49F-86B9-4B6D-BB0A-95772846601B}" srcOrd="3" destOrd="0" parTransId="{903D9263-61BF-49F4-A0B4-0FCB62E7412B}" sibTransId="{25EDA4B1-2B11-4572-8FF1-45F4C4907532}"/>
    <dgm:cxn modelId="{123D40EF-6374-4426-A4BF-DB0A1139DD64}" type="presOf" srcId="{21F5ACDF-5253-4CC8-9520-82C625AA0B39}" destId="{C8BD87DC-6264-4557-BD4F-6C4336B6EE1C}" srcOrd="1" destOrd="0" presId="urn:microsoft.com/office/officeart/2005/8/layout/lProcess2"/>
    <dgm:cxn modelId="{B114532D-A8AB-47F2-B231-050252F2B8A0}" type="presParOf" srcId="{539EE016-4987-423A-9503-F76C0D206C08}" destId="{47C99BF1-C18D-47AD-B1B2-30502B7E6277}" srcOrd="0" destOrd="0" presId="urn:microsoft.com/office/officeart/2005/8/layout/lProcess2"/>
    <dgm:cxn modelId="{40E7346C-16B3-4C75-9C87-172173C8E0DC}" type="presParOf" srcId="{47C99BF1-C18D-47AD-B1B2-30502B7E6277}" destId="{F81C72FE-3E5E-4008-B457-285A468774AC}" srcOrd="0" destOrd="0" presId="urn:microsoft.com/office/officeart/2005/8/layout/lProcess2"/>
    <dgm:cxn modelId="{20A94621-344E-4AF0-AE17-1F9D343FCDE4}" type="presParOf" srcId="{47C99BF1-C18D-47AD-B1B2-30502B7E6277}" destId="{F672A4F3-022D-46A7-8FA4-6F397FCA1268}" srcOrd="1" destOrd="0" presId="urn:microsoft.com/office/officeart/2005/8/layout/lProcess2"/>
    <dgm:cxn modelId="{280ABA8D-5967-4C52-97A2-DAB36E99991B}" type="presParOf" srcId="{47C99BF1-C18D-47AD-B1B2-30502B7E6277}" destId="{8AA99B3F-84C6-4724-B3F0-80D2B8AB88FF}" srcOrd="2" destOrd="0" presId="urn:microsoft.com/office/officeart/2005/8/layout/lProcess2"/>
    <dgm:cxn modelId="{C7EA253F-0D7B-49C6-A180-51E7F0D62318}" type="presParOf" srcId="{8AA99B3F-84C6-4724-B3F0-80D2B8AB88FF}" destId="{5B4C3D5F-58BE-41E3-8BB3-118CA76D3250}" srcOrd="0" destOrd="0" presId="urn:microsoft.com/office/officeart/2005/8/layout/lProcess2"/>
    <dgm:cxn modelId="{1938E510-4BB2-4CF8-8455-311A16198F8B}" type="presParOf" srcId="{5B4C3D5F-58BE-41E3-8BB3-118CA76D3250}" destId="{4227300F-B4FA-4A1E-A838-065E1FA176D9}" srcOrd="0" destOrd="0" presId="urn:microsoft.com/office/officeart/2005/8/layout/lProcess2"/>
    <dgm:cxn modelId="{B2A798E1-2758-4CCE-B69E-FC9627AA3821}" type="presParOf" srcId="{5B4C3D5F-58BE-41E3-8BB3-118CA76D3250}" destId="{544D24E4-5894-400C-AE1C-340D9E4F4DFA}" srcOrd="1" destOrd="0" presId="urn:microsoft.com/office/officeart/2005/8/layout/lProcess2"/>
    <dgm:cxn modelId="{18439C37-9BF2-4008-BB32-A479430B46CF}" type="presParOf" srcId="{5B4C3D5F-58BE-41E3-8BB3-118CA76D3250}" destId="{7C40DF22-A932-4016-A972-5CB049D63C59}" srcOrd="2" destOrd="0" presId="urn:microsoft.com/office/officeart/2005/8/layout/lProcess2"/>
    <dgm:cxn modelId="{AFD8B929-5E6E-433C-8F7E-F5B4573DB0C6}" type="presParOf" srcId="{5B4C3D5F-58BE-41E3-8BB3-118CA76D3250}" destId="{2844E842-0B61-48C6-9E61-F74607BD8546}" srcOrd="3" destOrd="0" presId="urn:microsoft.com/office/officeart/2005/8/layout/lProcess2"/>
    <dgm:cxn modelId="{4247FDB2-6FF8-412E-9BD0-CFFBAFA8B133}" type="presParOf" srcId="{5B4C3D5F-58BE-41E3-8BB3-118CA76D3250}" destId="{69BBA67D-A899-4F38-875D-3D3F29C8B498}" srcOrd="4" destOrd="0" presId="urn:microsoft.com/office/officeart/2005/8/layout/lProcess2"/>
    <dgm:cxn modelId="{024497AA-FA57-42A0-B5BC-51E534563EBA}" type="presParOf" srcId="{5B4C3D5F-58BE-41E3-8BB3-118CA76D3250}" destId="{7A7D985D-9E67-4946-AB26-ED0CB8B034DC}" srcOrd="5" destOrd="0" presId="urn:microsoft.com/office/officeart/2005/8/layout/lProcess2"/>
    <dgm:cxn modelId="{B7A8877E-7103-4C33-B267-3563DB658978}" type="presParOf" srcId="{5B4C3D5F-58BE-41E3-8BB3-118CA76D3250}" destId="{D516759E-99C0-4473-9E04-EBFB7926DA71}" srcOrd="6" destOrd="0" presId="urn:microsoft.com/office/officeart/2005/8/layout/lProcess2"/>
    <dgm:cxn modelId="{ACB996EC-D60E-422B-8713-863826635FD8}" type="presParOf" srcId="{539EE016-4987-423A-9503-F76C0D206C08}" destId="{D2C53741-5BD4-4859-B7A4-9D842E5AFB8D}" srcOrd="1" destOrd="0" presId="urn:microsoft.com/office/officeart/2005/8/layout/lProcess2"/>
    <dgm:cxn modelId="{F3A0AE79-0759-4D64-B3A3-080B61C1BA7E}" type="presParOf" srcId="{539EE016-4987-423A-9503-F76C0D206C08}" destId="{A1BA1698-EEA7-4CA2-B43A-909AB32AC137}" srcOrd="2" destOrd="0" presId="urn:microsoft.com/office/officeart/2005/8/layout/lProcess2"/>
    <dgm:cxn modelId="{22114420-DD47-49A1-BEBF-683CA59580CB}" type="presParOf" srcId="{A1BA1698-EEA7-4CA2-B43A-909AB32AC137}" destId="{D67617ED-4E7D-4ED2-A4D5-B39643A02074}" srcOrd="0" destOrd="0" presId="urn:microsoft.com/office/officeart/2005/8/layout/lProcess2"/>
    <dgm:cxn modelId="{7C2EB076-B56E-4C29-891B-A4561BF51120}" type="presParOf" srcId="{A1BA1698-EEA7-4CA2-B43A-909AB32AC137}" destId="{11430701-CF7E-4653-B89A-0624047BE7E9}" srcOrd="1" destOrd="0" presId="urn:microsoft.com/office/officeart/2005/8/layout/lProcess2"/>
    <dgm:cxn modelId="{DADE60FC-79A5-4147-A49F-5DEA1AE2CC5D}" type="presParOf" srcId="{A1BA1698-EEA7-4CA2-B43A-909AB32AC137}" destId="{4B948A1D-8852-46D5-AEDE-9ED1C43F7147}" srcOrd="2" destOrd="0" presId="urn:microsoft.com/office/officeart/2005/8/layout/lProcess2"/>
    <dgm:cxn modelId="{77A61AB0-2D4B-4F05-B331-9D3FE7E36CEB}" type="presParOf" srcId="{4B948A1D-8852-46D5-AEDE-9ED1C43F7147}" destId="{20DC7203-3073-4BF7-88AC-06CC6316AC3D}" srcOrd="0" destOrd="0" presId="urn:microsoft.com/office/officeart/2005/8/layout/lProcess2"/>
    <dgm:cxn modelId="{FE6A0E6A-D93D-4FC6-9021-F3662F7F244A}" type="presParOf" srcId="{20DC7203-3073-4BF7-88AC-06CC6316AC3D}" destId="{CF2ED777-3D35-409B-950B-C73556731C07}" srcOrd="0" destOrd="0" presId="urn:microsoft.com/office/officeart/2005/8/layout/lProcess2"/>
    <dgm:cxn modelId="{121E02B2-1B29-4296-AF1F-59FF6A72B387}" type="presParOf" srcId="{20DC7203-3073-4BF7-88AC-06CC6316AC3D}" destId="{0AB1B31C-AF32-42EB-85CB-5C1863729407}" srcOrd="1" destOrd="0" presId="urn:microsoft.com/office/officeart/2005/8/layout/lProcess2"/>
    <dgm:cxn modelId="{85A01188-73A4-4263-B690-98A53F261E79}" type="presParOf" srcId="{20DC7203-3073-4BF7-88AC-06CC6316AC3D}" destId="{FA58FFE1-4028-4798-AEAB-C0F253AE4CAF}" srcOrd="2" destOrd="0" presId="urn:microsoft.com/office/officeart/2005/8/layout/lProcess2"/>
    <dgm:cxn modelId="{5B1BC3AB-B7DE-4EFD-AB31-7FB20ECEEF8F}" type="presParOf" srcId="{20DC7203-3073-4BF7-88AC-06CC6316AC3D}" destId="{CEAD7405-56D5-440F-AC25-592E7D0A7A73}" srcOrd="3" destOrd="0" presId="urn:microsoft.com/office/officeart/2005/8/layout/lProcess2"/>
    <dgm:cxn modelId="{6B05F80B-D8FE-499D-90B1-9BFC3C03FB55}" type="presParOf" srcId="{20DC7203-3073-4BF7-88AC-06CC6316AC3D}" destId="{B42F3274-8BC4-4F83-B85C-ECADE56D2788}" srcOrd="4" destOrd="0" presId="urn:microsoft.com/office/officeart/2005/8/layout/lProcess2"/>
    <dgm:cxn modelId="{45836370-6437-4B34-B1E6-599652FFEBE9}" type="presParOf" srcId="{20DC7203-3073-4BF7-88AC-06CC6316AC3D}" destId="{AFC13593-4B7C-4347-9249-17CBE579DB44}" srcOrd="5" destOrd="0" presId="urn:microsoft.com/office/officeart/2005/8/layout/lProcess2"/>
    <dgm:cxn modelId="{42302CA4-3ADE-4676-9ED6-AE4628BE662B}" type="presParOf" srcId="{20DC7203-3073-4BF7-88AC-06CC6316AC3D}" destId="{2B6ADAD7-568C-4B96-AF54-8B928C072719}" srcOrd="6" destOrd="0" presId="urn:microsoft.com/office/officeart/2005/8/layout/lProcess2"/>
    <dgm:cxn modelId="{1176B7BF-0C23-4848-A0D9-CB996C78B33A}" type="presParOf" srcId="{539EE016-4987-423A-9503-F76C0D206C08}" destId="{18083400-F5C7-48A3-B8BF-E105E442FD90}" srcOrd="3" destOrd="0" presId="urn:microsoft.com/office/officeart/2005/8/layout/lProcess2"/>
    <dgm:cxn modelId="{520FC880-577F-4C06-9356-69C4FD45FF03}" type="presParOf" srcId="{539EE016-4987-423A-9503-F76C0D206C08}" destId="{29FA19FB-681C-4AF9-9E85-DECB228C078D}" srcOrd="4" destOrd="0" presId="urn:microsoft.com/office/officeart/2005/8/layout/lProcess2"/>
    <dgm:cxn modelId="{E57F6714-01B4-407B-8F0B-F216BCC205E5}" type="presParOf" srcId="{29FA19FB-681C-4AF9-9E85-DECB228C078D}" destId="{1E561759-9202-4C78-9520-F81139133FEC}" srcOrd="0" destOrd="0" presId="urn:microsoft.com/office/officeart/2005/8/layout/lProcess2"/>
    <dgm:cxn modelId="{AF05F3F1-C3C4-4AB3-A14F-EB1337A0CE39}" type="presParOf" srcId="{29FA19FB-681C-4AF9-9E85-DECB228C078D}" destId="{C3A160B2-D8FD-44E8-8D98-E71481A6E37D}" srcOrd="1" destOrd="0" presId="urn:microsoft.com/office/officeart/2005/8/layout/lProcess2"/>
    <dgm:cxn modelId="{713C80FF-24D6-459F-9830-87ECA4A20CEF}" type="presParOf" srcId="{29FA19FB-681C-4AF9-9E85-DECB228C078D}" destId="{91081156-998B-4681-BBD9-5FFDFF61E2FE}" srcOrd="2" destOrd="0" presId="urn:microsoft.com/office/officeart/2005/8/layout/lProcess2"/>
    <dgm:cxn modelId="{81C8848E-FB64-42B4-95D7-2E64DD308153}" type="presParOf" srcId="{91081156-998B-4681-BBD9-5FFDFF61E2FE}" destId="{C013CE34-3020-4EFD-B799-771B48F85CAA}" srcOrd="0" destOrd="0" presId="urn:microsoft.com/office/officeart/2005/8/layout/lProcess2"/>
    <dgm:cxn modelId="{B6444575-A5E1-4438-89A9-30352AA4C93C}" type="presParOf" srcId="{C013CE34-3020-4EFD-B799-771B48F85CAA}" destId="{922FE75F-42BA-4D2C-912E-225D726991B8}" srcOrd="0" destOrd="0" presId="urn:microsoft.com/office/officeart/2005/8/layout/lProcess2"/>
    <dgm:cxn modelId="{7E77B9A0-C447-474A-B0E9-B0A1832ED44A}" type="presParOf" srcId="{C013CE34-3020-4EFD-B799-771B48F85CAA}" destId="{3D8CB16C-F928-481E-8C24-3C53D9EB2A8F}" srcOrd="1" destOrd="0" presId="urn:microsoft.com/office/officeart/2005/8/layout/lProcess2"/>
    <dgm:cxn modelId="{B2C367B5-F3BC-4FD4-8758-AE46A11CC974}" type="presParOf" srcId="{C013CE34-3020-4EFD-B799-771B48F85CAA}" destId="{0BA0A7C3-426E-444B-A0B1-038F6133DDB4}" srcOrd="2" destOrd="0" presId="urn:microsoft.com/office/officeart/2005/8/layout/lProcess2"/>
    <dgm:cxn modelId="{96B5B154-B6BA-461F-93E3-F47E7ED6BC3B}" type="presParOf" srcId="{C013CE34-3020-4EFD-B799-771B48F85CAA}" destId="{3D0B713D-C32B-4B8A-8410-A4AD99B8E6B4}" srcOrd="3" destOrd="0" presId="urn:microsoft.com/office/officeart/2005/8/layout/lProcess2"/>
    <dgm:cxn modelId="{FC819590-6A51-4804-AF5E-E89CF98B91A7}" type="presParOf" srcId="{C013CE34-3020-4EFD-B799-771B48F85CAA}" destId="{2356D871-C0A1-44F2-B643-68AA4DE2DE04}" srcOrd="4" destOrd="0" presId="urn:microsoft.com/office/officeart/2005/8/layout/lProcess2"/>
    <dgm:cxn modelId="{B009233F-E024-4AF0-8D27-76041EAD5686}" type="presParOf" srcId="{C013CE34-3020-4EFD-B799-771B48F85CAA}" destId="{0C1AC8C9-B43B-4BD6-8E7F-2B4D8BF38DD9}" srcOrd="5" destOrd="0" presId="urn:microsoft.com/office/officeart/2005/8/layout/lProcess2"/>
    <dgm:cxn modelId="{498B6C66-B31F-4C5A-BB28-4DE541AFB83E}" type="presParOf" srcId="{C013CE34-3020-4EFD-B799-771B48F85CAA}" destId="{0EB5FF0C-0E08-47FE-AAA6-C0A020B9169E}" srcOrd="6" destOrd="0" presId="urn:microsoft.com/office/officeart/2005/8/layout/lProcess2"/>
    <dgm:cxn modelId="{68125B55-5B43-4A50-887E-9CBB00AC3D10}" type="presParOf" srcId="{C013CE34-3020-4EFD-B799-771B48F85CAA}" destId="{E28CFD0B-2B12-4AE1-8947-DFE1D090EB39}" srcOrd="7" destOrd="0" presId="urn:microsoft.com/office/officeart/2005/8/layout/lProcess2"/>
    <dgm:cxn modelId="{CA4FC658-554E-4642-A599-542BB593F6C9}" type="presParOf" srcId="{C013CE34-3020-4EFD-B799-771B48F85CAA}" destId="{13E31844-FA3A-4C88-9936-9C4CE2B1BED7}" srcOrd="8" destOrd="0" presId="urn:microsoft.com/office/officeart/2005/8/layout/lProcess2"/>
    <dgm:cxn modelId="{D09FF6D7-C5FA-43B8-A209-F519EBF5FA3E}" type="presParOf" srcId="{539EE016-4987-423A-9503-F76C0D206C08}" destId="{BBF5C689-A4FD-4D25-ADF5-08C9A084EF90}" srcOrd="5" destOrd="0" presId="urn:microsoft.com/office/officeart/2005/8/layout/lProcess2"/>
    <dgm:cxn modelId="{4649CA9A-B21D-4D0A-BFDD-A6396BB4BB5E}" type="presParOf" srcId="{539EE016-4987-423A-9503-F76C0D206C08}" destId="{948C5EE8-33B1-4699-905E-1708411B204A}" srcOrd="6" destOrd="0" presId="urn:microsoft.com/office/officeart/2005/8/layout/lProcess2"/>
    <dgm:cxn modelId="{768ED260-C672-40CD-9785-1FFC1CBC6384}" type="presParOf" srcId="{948C5EE8-33B1-4699-905E-1708411B204A}" destId="{6C1511B2-E477-430F-BBAB-03CD142CC82F}" srcOrd="0" destOrd="0" presId="urn:microsoft.com/office/officeart/2005/8/layout/lProcess2"/>
    <dgm:cxn modelId="{211DB3B3-A09B-4596-8332-D9FFD76A13AB}" type="presParOf" srcId="{948C5EE8-33B1-4699-905E-1708411B204A}" destId="{8498589A-15D9-4AA4-AD3B-5D0E4C5B83B9}" srcOrd="1" destOrd="0" presId="urn:microsoft.com/office/officeart/2005/8/layout/lProcess2"/>
    <dgm:cxn modelId="{20137262-7015-4BCB-9942-CCCB950230F7}" type="presParOf" srcId="{948C5EE8-33B1-4699-905E-1708411B204A}" destId="{F6BB23B3-6CD1-40C1-ABF7-F15485628AAB}" srcOrd="2" destOrd="0" presId="urn:microsoft.com/office/officeart/2005/8/layout/lProcess2"/>
    <dgm:cxn modelId="{FF29762E-1726-4C58-9A14-F482004E141F}" type="presParOf" srcId="{F6BB23B3-6CD1-40C1-ABF7-F15485628AAB}" destId="{CC73EC68-B26E-432B-8239-549E41C1BA60}" srcOrd="0" destOrd="0" presId="urn:microsoft.com/office/officeart/2005/8/layout/lProcess2"/>
    <dgm:cxn modelId="{28F9A738-E0A2-4C1D-B4B0-3C6AAFB659E8}" type="presParOf" srcId="{CC73EC68-B26E-432B-8239-549E41C1BA60}" destId="{7F54F5FC-123A-428B-876B-2C2F9BDC5CA2}" srcOrd="0" destOrd="0" presId="urn:microsoft.com/office/officeart/2005/8/layout/lProcess2"/>
    <dgm:cxn modelId="{4F2C8362-7226-4299-8725-EFDB63D13722}" type="presParOf" srcId="{CC73EC68-B26E-432B-8239-549E41C1BA60}" destId="{DFF62E38-C6DD-4622-8750-9AF0AFFDFC6A}" srcOrd="1" destOrd="0" presId="urn:microsoft.com/office/officeart/2005/8/layout/lProcess2"/>
    <dgm:cxn modelId="{B47CCFE0-44DA-4883-864A-44832CD661F0}" type="presParOf" srcId="{CC73EC68-B26E-432B-8239-549E41C1BA60}" destId="{24F08601-EA02-4FE0-8D6E-844B42A9B6A6}" srcOrd="2" destOrd="0" presId="urn:microsoft.com/office/officeart/2005/8/layout/lProcess2"/>
    <dgm:cxn modelId="{5C310923-2138-44BB-931D-E785CD010555}" type="presParOf" srcId="{CC73EC68-B26E-432B-8239-549E41C1BA60}" destId="{449E903F-E4DE-4A46-A369-C74568ECA2F2}" srcOrd="3" destOrd="0" presId="urn:microsoft.com/office/officeart/2005/8/layout/lProcess2"/>
    <dgm:cxn modelId="{DFC6A9AA-F003-4C95-9D59-60E4B993686E}" type="presParOf" srcId="{CC73EC68-B26E-432B-8239-549E41C1BA60}" destId="{EDFA31EE-A8F0-4D99-A41E-F4425F02E585}" srcOrd="4" destOrd="0" presId="urn:microsoft.com/office/officeart/2005/8/layout/lProcess2"/>
    <dgm:cxn modelId="{0B7A7C58-7BA2-4D71-B054-35ED98974A4D}" type="presParOf" srcId="{CC73EC68-B26E-432B-8239-549E41C1BA60}" destId="{8E1A3D3F-D2BD-4588-B308-5F3AE8918EBF}" srcOrd="5" destOrd="0" presId="urn:microsoft.com/office/officeart/2005/8/layout/lProcess2"/>
    <dgm:cxn modelId="{12DBD741-547E-4CDF-816D-391B4DD32B55}" type="presParOf" srcId="{CC73EC68-B26E-432B-8239-549E41C1BA60}" destId="{BFB5D038-007F-4C64-BA66-CC0A5203E0BC}" srcOrd="6" destOrd="0" presId="urn:microsoft.com/office/officeart/2005/8/layout/lProcess2"/>
    <dgm:cxn modelId="{34BC9BF7-FB88-4669-808F-2F606C3AEF24}" type="presParOf" srcId="{539EE016-4987-423A-9503-F76C0D206C08}" destId="{7E78C63A-727C-437F-A193-0C9F08BE005F}" srcOrd="7" destOrd="0" presId="urn:microsoft.com/office/officeart/2005/8/layout/lProcess2"/>
    <dgm:cxn modelId="{90E0F3D6-6F11-4873-A048-16B9CF3FF69D}" type="presParOf" srcId="{539EE016-4987-423A-9503-F76C0D206C08}" destId="{E0CA59DE-F580-480D-A70A-271776A667D7}" srcOrd="8" destOrd="0" presId="urn:microsoft.com/office/officeart/2005/8/layout/lProcess2"/>
    <dgm:cxn modelId="{C3E4B034-E48E-48AB-9502-CE931FE1B0E9}" type="presParOf" srcId="{E0CA59DE-F580-480D-A70A-271776A667D7}" destId="{707BDABC-6D52-4DB5-992D-E1A19007B554}" srcOrd="0" destOrd="0" presId="urn:microsoft.com/office/officeart/2005/8/layout/lProcess2"/>
    <dgm:cxn modelId="{D6E2A7B4-B2FC-4F32-B81B-91E29ACC9A2D}" type="presParOf" srcId="{E0CA59DE-F580-480D-A70A-271776A667D7}" destId="{C8BD87DC-6264-4557-BD4F-6C4336B6EE1C}" srcOrd="1" destOrd="0" presId="urn:microsoft.com/office/officeart/2005/8/layout/lProcess2"/>
    <dgm:cxn modelId="{06FC9AFE-4786-4587-82DB-2AF3C3CBA1A3}" type="presParOf" srcId="{E0CA59DE-F580-480D-A70A-271776A667D7}" destId="{4E01D3CD-32A2-42A8-B15F-2ABB079BAEE5}" srcOrd="2" destOrd="0" presId="urn:microsoft.com/office/officeart/2005/8/layout/lProcess2"/>
    <dgm:cxn modelId="{C27A8F55-8E5C-48CC-836B-78F8FB1FC344}" type="presParOf" srcId="{4E01D3CD-32A2-42A8-B15F-2ABB079BAEE5}" destId="{3868DC33-2A1C-4DA1-BF1B-D9373118FFB1}" srcOrd="0" destOrd="0" presId="urn:microsoft.com/office/officeart/2005/8/layout/lProcess2"/>
    <dgm:cxn modelId="{E48016ED-046F-4CED-B210-9F1A86F9ADAC}" type="presParOf" srcId="{3868DC33-2A1C-4DA1-BF1B-D9373118FFB1}" destId="{B0EEF80F-092C-4AD1-97FB-9AA5E45EE56C}" srcOrd="0" destOrd="0" presId="urn:microsoft.com/office/officeart/2005/8/layout/lProcess2"/>
    <dgm:cxn modelId="{67841194-1A4D-4BE2-B270-1ABE96E1F862}" type="presParOf" srcId="{3868DC33-2A1C-4DA1-BF1B-D9373118FFB1}" destId="{F83D3B54-302B-4A76-9265-1861D72DFDB0}" srcOrd="1" destOrd="0" presId="urn:microsoft.com/office/officeart/2005/8/layout/lProcess2"/>
    <dgm:cxn modelId="{91D9986D-9614-4B81-A6F0-372B14837603}" type="presParOf" srcId="{3868DC33-2A1C-4DA1-BF1B-D9373118FFB1}" destId="{DD4EAF2D-1F22-4692-AACE-72747D91F744}" srcOrd="2" destOrd="0" presId="urn:microsoft.com/office/officeart/2005/8/layout/lProcess2"/>
    <dgm:cxn modelId="{CC77DD63-E71E-4A95-AF0E-7DA1B06DACCC}" type="presParOf" srcId="{3868DC33-2A1C-4DA1-BF1B-D9373118FFB1}" destId="{DF93C720-75DE-4F0B-9E9A-7E37FFC9FB15}" srcOrd="3" destOrd="0" presId="urn:microsoft.com/office/officeart/2005/8/layout/lProcess2"/>
    <dgm:cxn modelId="{1016037B-D784-40EB-A8D8-93F503DBA9E6}" type="presParOf" srcId="{3868DC33-2A1C-4DA1-BF1B-D9373118FFB1}" destId="{0B7DDE8B-9E99-48AE-878E-A61AC793D8A6}" srcOrd="4" destOrd="0" presId="urn:microsoft.com/office/officeart/2005/8/layout/lProcess2"/>
    <dgm:cxn modelId="{3AE4B4FB-F76F-4D72-9596-65037709B615}" type="presParOf" srcId="{3868DC33-2A1C-4DA1-BF1B-D9373118FFB1}" destId="{AB12B43D-D2E1-44AD-9078-4F978C5B7818}" srcOrd="5" destOrd="0" presId="urn:microsoft.com/office/officeart/2005/8/layout/lProcess2"/>
    <dgm:cxn modelId="{A197F572-D596-4D16-8F8D-AFAAC814EFF6}" type="presParOf" srcId="{3868DC33-2A1C-4DA1-BF1B-D9373118FFB1}" destId="{4AEE5089-FB8A-43AC-BF40-804E920A77D7}" srcOrd="6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DBA78BF-2EB2-46CE-A426-56EF8E4D92E5}" type="doc">
      <dgm:prSet loTypeId="urn:microsoft.com/office/officeart/2005/8/layout/hierarchy6" loCatId="hierarchy" qsTypeId="urn:microsoft.com/office/officeart/2005/8/quickstyle/3d2" qsCatId="3D" csTypeId="urn:microsoft.com/office/officeart/2005/8/colors/colorful4" csCatId="colorful" phldr="1"/>
      <dgm:spPr/>
      <dgm:t>
        <a:bodyPr/>
        <a:lstStyle/>
        <a:p>
          <a:endParaRPr lang="zh-CN" altLang="en-US"/>
        </a:p>
      </dgm:t>
    </dgm:pt>
    <dgm:pt modelId="{57BA1C6E-9815-4A41-B37E-0E9BDF050DD6}">
      <dgm:prSet phldrT="[文本]"/>
      <dgm:spPr/>
      <dgm:t>
        <a:bodyPr/>
        <a:lstStyle/>
        <a:p>
          <a:r>
            <a:rPr lang="zh-CN" altLang="en-US" dirty="0" smtClean="0"/>
            <a:t>业务系统</a:t>
          </a:r>
          <a:endParaRPr lang="zh-CN" altLang="en-US" dirty="0"/>
        </a:p>
      </dgm:t>
    </dgm:pt>
    <dgm:pt modelId="{4B128EFC-CDE8-4B6D-9963-42E117483BAC}" type="parTrans" cxnId="{999632F5-282D-4A3E-963B-5B952A75BDCB}">
      <dgm:prSet/>
      <dgm:spPr/>
      <dgm:t>
        <a:bodyPr/>
        <a:lstStyle/>
        <a:p>
          <a:endParaRPr lang="zh-CN" altLang="en-US"/>
        </a:p>
      </dgm:t>
    </dgm:pt>
    <dgm:pt modelId="{FDFAF1F8-3F11-4172-B596-AE7B9DAA8BA5}" type="sibTrans" cxnId="{999632F5-282D-4A3E-963B-5B952A75BDCB}">
      <dgm:prSet/>
      <dgm:spPr/>
      <dgm:t>
        <a:bodyPr/>
        <a:lstStyle/>
        <a:p>
          <a:endParaRPr lang="zh-CN" altLang="en-US"/>
        </a:p>
      </dgm:t>
    </dgm:pt>
    <dgm:pt modelId="{1A048A02-CBF8-4AA7-9513-1783BA2A9693}" type="asst">
      <dgm:prSet phldrT="[文本]"/>
      <dgm:spPr/>
      <dgm:t>
        <a:bodyPr/>
        <a:lstStyle/>
        <a:p>
          <a:r>
            <a:rPr lang="zh-CN" altLang="en-US" dirty="0" smtClean="0"/>
            <a:t>系统管理</a:t>
          </a:r>
          <a:endParaRPr lang="zh-CN" altLang="en-US" dirty="0"/>
        </a:p>
      </dgm:t>
    </dgm:pt>
    <dgm:pt modelId="{1622BBA7-8FAD-4F92-A8FF-61C12B3A1CC1}" type="parTrans" cxnId="{9CACF0AA-3A8E-41CC-BF79-9DF589CAA2A3}">
      <dgm:prSet/>
      <dgm:spPr/>
      <dgm:t>
        <a:bodyPr/>
        <a:lstStyle/>
        <a:p>
          <a:endParaRPr lang="zh-CN" altLang="en-US"/>
        </a:p>
      </dgm:t>
    </dgm:pt>
    <dgm:pt modelId="{BDA5DD64-22CE-4C29-97C8-3E03EC98F718}" type="sibTrans" cxnId="{9CACF0AA-3A8E-41CC-BF79-9DF589CAA2A3}">
      <dgm:prSet/>
      <dgm:spPr/>
      <dgm:t>
        <a:bodyPr/>
        <a:lstStyle/>
        <a:p>
          <a:endParaRPr lang="zh-CN" altLang="en-US"/>
        </a:p>
      </dgm:t>
    </dgm:pt>
    <dgm:pt modelId="{7E05407F-0B84-4CF2-8D66-E1BB4285CC5B}">
      <dgm:prSet phldrT="[文本]"/>
      <dgm:spPr/>
      <dgm:t>
        <a:bodyPr/>
        <a:lstStyle/>
        <a:p>
          <a:r>
            <a:rPr lang="zh-CN" altLang="en-US" dirty="0" smtClean="0"/>
            <a:t>业务管理</a:t>
          </a:r>
          <a:endParaRPr lang="zh-CN" altLang="en-US" dirty="0"/>
        </a:p>
      </dgm:t>
    </dgm:pt>
    <dgm:pt modelId="{3DF24F86-E1C3-4024-A4E8-4A689416C566}" type="parTrans" cxnId="{704DE0A6-415F-44FB-A9E0-B1C272229AB3}">
      <dgm:prSet/>
      <dgm:spPr/>
      <dgm:t>
        <a:bodyPr/>
        <a:lstStyle/>
        <a:p>
          <a:endParaRPr lang="zh-CN" altLang="en-US"/>
        </a:p>
      </dgm:t>
    </dgm:pt>
    <dgm:pt modelId="{5622354A-A39F-4AA7-800D-3F4C2B3AB9D0}" type="sibTrans" cxnId="{704DE0A6-415F-44FB-A9E0-B1C272229AB3}">
      <dgm:prSet/>
      <dgm:spPr/>
      <dgm:t>
        <a:bodyPr/>
        <a:lstStyle/>
        <a:p>
          <a:endParaRPr lang="zh-CN" altLang="en-US"/>
        </a:p>
      </dgm:t>
    </dgm:pt>
    <dgm:pt modelId="{2709E8C2-DFF0-4376-8471-F4C74708684B}">
      <dgm:prSet phldrT="[文本]"/>
      <dgm:spPr/>
      <dgm:t>
        <a:bodyPr/>
        <a:lstStyle/>
        <a:p>
          <a:r>
            <a:rPr lang="zh-CN" altLang="en-US" dirty="0" smtClean="0"/>
            <a:t>报表</a:t>
          </a:r>
          <a:endParaRPr lang="zh-CN" altLang="en-US" dirty="0"/>
        </a:p>
      </dgm:t>
    </dgm:pt>
    <dgm:pt modelId="{19B113E7-F7E7-4D64-850C-18C3B0D61FB3}" type="parTrans" cxnId="{51F50301-00D3-4EF6-8578-6E68D9319F58}">
      <dgm:prSet/>
      <dgm:spPr/>
      <dgm:t>
        <a:bodyPr/>
        <a:lstStyle/>
        <a:p>
          <a:endParaRPr lang="zh-CN" altLang="en-US"/>
        </a:p>
      </dgm:t>
    </dgm:pt>
    <dgm:pt modelId="{08AD3346-CE63-4A41-B123-9431E7230E24}" type="sibTrans" cxnId="{51F50301-00D3-4EF6-8578-6E68D9319F58}">
      <dgm:prSet/>
      <dgm:spPr/>
      <dgm:t>
        <a:bodyPr/>
        <a:lstStyle/>
        <a:p>
          <a:endParaRPr lang="zh-CN" altLang="en-US"/>
        </a:p>
      </dgm:t>
    </dgm:pt>
    <dgm:pt modelId="{47F9E6D1-9F6B-4D28-BBDC-3B9B2FDEDC5D}">
      <dgm:prSet phldrT="[文本]"/>
      <dgm:spPr/>
      <dgm:t>
        <a:bodyPr/>
        <a:lstStyle/>
        <a:p>
          <a:r>
            <a:rPr lang="zh-CN" altLang="en-US" dirty="0" smtClean="0"/>
            <a:t>接口服务</a:t>
          </a:r>
          <a:endParaRPr lang="zh-CN" altLang="en-US" dirty="0"/>
        </a:p>
      </dgm:t>
    </dgm:pt>
    <dgm:pt modelId="{963CFACB-12F0-4C9E-BCD6-810371F387E5}" type="parTrans" cxnId="{7937CC36-9BDB-4162-8765-2ED0B746417A}">
      <dgm:prSet/>
      <dgm:spPr/>
      <dgm:t>
        <a:bodyPr/>
        <a:lstStyle/>
        <a:p>
          <a:endParaRPr lang="zh-CN" altLang="en-US"/>
        </a:p>
      </dgm:t>
    </dgm:pt>
    <dgm:pt modelId="{ACB2EA3A-BA54-4059-8295-E1AAC23BCF33}" type="sibTrans" cxnId="{7937CC36-9BDB-4162-8765-2ED0B746417A}">
      <dgm:prSet/>
      <dgm:spPr/>
      <dgm:t>
        <a:bodyPr/>
        <a:lstStyle/>
        <a:p>
          <a:endParaRPr lang="zh-CN" altLang="en-US"/>
        </a:p>
      </dgm:t>
    </dgm:pt>
    <dgm:pt modelId="{B45C148A-9D27-46F4-B072-FB172B11C82E}">
      <dgm:prSet phldrT="[文本]"/>
      <dgm:spPr/>
      <dgm:t>
        <a:bodyPr/>
        <a:lstStyle/>
        <a:p>
          <a:r>
            <a:rPr lang="zh-CN" altLang="en-US" dirty="0" smtClean="0"/>
            <a:t>门户</a:t>
          </a:r>
          <a:endParaRPr lang="zh-CN" altLang="en-US" dirty="0"/>
        </a:p>
      </dgm:t>
    </dgm:pt>
    <dgm:pt modelId="{6BB89147-5CA8-4AE5-91A6-AFBD87DF638E}" type="parTrans" cxnId="{77B5A56B-9F0A-4FBB-A2D6-EC4B94B69DC7}">
      <dgm:prSet/>
      <dgm:spPr/>
      <dgm:t>
        <a:bodyPr/>
        <a:lstStyle/>
        <a:p>
          <a:endParaRPr lang="zh-CN" altLang="en-US"/>
        </a:p>
      </dgm:t>
    </dgm:pt>
    <dgm:pt modelId="{914D379A-2B61-4FED-88DE-9FBCBF8D6AB2}" type="sibTrans" cxnId="{77B5A56B-9F0A-4FBB-A2D6-EC4B94B69DC7}">
      <dgm:prSet/>
      <dgm:spPr/>
      <dgm:t>
        <a:bodyPr/>
        <a:lstStyle/>
        <a:p>
          <a:endParaRPr lang="zh-CN" altLang="en-US"/>
        </a:p>
      </dgm:t>
    </dgm:pt>
    <dgm:pt modelId="{BF624D3A-1654-4F7A-8862-EE61219B3430}" type="pres">
      <dgm:prSet presAssocID="{EDBA78BF-2EB2-46CE-A426-56EF8E4D92E5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6ABBADBD-7A7D-4F5E-9E33-BF87F116C5BD}" type="pres">
      <dgm:prSet presAssocID="{EDBA78BF-2EB2-46CE-A426-56EF8E4D92E5}" presName="hierFlow" presStyleCnt="0"/>
      <dgm:spPr/>
    </dgm:pt>
    <dgm:pt modelId="{551410B3-7642-452C-81F7-5FE0F25C442A}" type="pres">
      <dgm:prSet presAssocID="{EDBA78BF-2EB2-46CE-A426-56EF8E4D92E5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9694DC34-44FA-4C4A-9139-F7351F02B8FE}" type="pres">
      <dgm:prSet presAssocID="{57BA1C6E-9815-4A41-B37E-0E9BDF050DD6}" presName="Name14" presStyleCnt="0"/>
      <dgm:spPr/>
    </dgm:pt>
    <dgm:pt modelId="{787DA92E-9BC3-4EE2-8CEF-99FB70C76E52}" type="pres">
      <dgm:prSet presAssocID="{57BA1C6E-9815-4A41-B37E-0E9BDF050DD6}" presName="level1Shape" presStyleLbl="node0" presStyleIdx="0" presStyleCnt="1" custLinFactNeighborY="-10336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B6FC0C6A-5C9A-4B2C-AD25-95B8FC823146}" type="pres">
      <dgm:prSet presAssocID="{57BA1C6E-9815-4A41-B37E-0E9BDF050DD6}" presName="hierChild2" presStyleCnt="0"/>
      <dgm:spPr/>
    </dgm:pt>
    <dgm:pt modelId="{0D5B0913-A451-47B0-AD16-7332F1142CFD}" type="pres">
      <dgm:prSet presAssocID="{1622BBA7-8FAD-4F92-A8FF-61C12B3A1CC1}" presName="Name19" presStyleLbl="parChTrans1D2" presStyleIdx="0" presStyleCnt="5"/>
      <dgm:spPr/>
      <dgm:t>
        <a:bodyPr/>
        <a:lstStyle/>
        <a:p>
          <a:endParaRPr lang="zh-CN" altLang="en-US"/>
        </a:p>
      </dgm:t>
    </dgm:pt>
    <dgm:pt modelId="{AEAD597F-7610-4DAA-97BA-D67409BFA997}" type="pres">
      <dgm:prSet presAssocID="{1A048A02-CBF8-4AA7-9513-1783BA2A9693}" presName="Name21" presStyleCnt="0"/>
      <dgm:spPr/>
    </dgm:pt>
    <dgm:pt modelId="{71BF2C04-8DD5-4913-9BFE-2873951E5ACF}" type="pres">
      <dgm:prSet presAssocID="{1A048A02-CBF8-4AA7-9513-1783BA2A9693}" presName="level2Shape" presStyleLbl="asst1" presStyleIdx="0" presStyleCnt="1"/>
      <dgm:spPr/>
      <dgm:t>
        <a:bodyPr/>
        <a:lstStyle/>
        <a:p>
          <a:endParaRPr lang="zh-CN" altLang="en-US"/>
        </a:p>
      </dgm:t>
    </dgm:pt>
    <dgm:pt modelId="{91F4E962-DD51-43C4-81DB-E5E11EE2B2B3}" type="pres">
      <dgm:prSet presAssocID="{1A048A02-CBF8-4AA7-9513-1783BA2A9693}" presName="hierChild3" presStyleCnt="0"/>
      <dgm:spPr/>
    </dgm:pt>
    <dgm:pt modelId="{54F7537A-F5C9-4EB1-B3ED-A173A89F50DD}" type="pres">
      <dgm:prSet presAssocID="{3DF24F86-E1C3-4024-A4E8-4A689416C566}" presName="Name19" presStyleLbl="parChTrans1D2" presStyleIdx="1" presStyleCnt="5"/>
      <dgm:spPr/>
      <dgm:t>
        <a:bodyPr/>
        <a:lstStyle/>
        <a:p>
          <a:endParaRPr lang="zh-CN" altLang="en-US"/>
        </a:p>
      </dgm:t>
    </dgm:pt>
    <dgm:pt modelId="{40FCD70A-9E24-46B5-AE11-C8E860C19483}" type="pres">
      <dgm:prSet presAssocID="{7E05407F-0B84-4CF2-8D66-E1BB4285CC5B}" presName="Name21" presStyleCnt="0"/>
      <dgm:spPr/>
    </dgm:pt>
    <dgm:pt modelId="{916E0FAA-F683-4BB3-AD62-CB481686BF8C}" type="pres">
      <dgm:prSet presAssocID="{7E05407F-0B84-4CF2-8D66-E1BB4285CC5B}" presName="level2Shape" presStyleLbl="node2" presStyleIdx="0" presStyleCnt="4"/>
      <dgm:spPr/>
      <dgm:t>
        <a:bodyPr/>
        <a:lstStyle/>
        <a:p>
          <a:endParaRPr lang="zh-CN" altLang="en-US"/>
        </a:p>
      </dgm:t>
    </dgm:pt>
    <dgm:pt modelId="{75491933-D804-46E2-8C7E-DADDA7681A72}" type="pres">
      <dgm:prSet presAssocID="{7E05407F-0B84-4CF2-8D66-E1BB4285CC5B}" presName="hierChild3" presStyleCnt="0"/>
      <dgm:spPr/>
    </dgm:pt>
    <dgm:pt modelId="{486BD69D-DB76-4348-857C-85BA943C0BFD}" type="pres">
      <dgm:prSet presAssocID="{19B113E7-F7E7-4D64-850C-18C3B0D61FB3}" presName="Name19" presStyleLbl="parChTrans1D2" presStyleIdx="2" presStyleCnt="5"/>
      <dgm:spPr/>
      <dgm:t>
        <a:bodyPr/>
        <a:lstStyle/>
        <a:p>
          <a:endParaRPr lang="zh-CN" altLang="en-US"/>
        </a:p>
      </dgm:t>
    </dgm:pt>
    <dgm:pt modelId="{4078C0C4-D4A2-401C-BE25-D026130FCFFB}" type="pres">
      <dgm:prSet presAssocID="{2709E8C2-DFF0-4376-8471-F4C74708684B}" presName="Name21" presStyleCnt="0"/>
      <dgm:spPr/>
    </dgm:pt>
    <dgm:pt modelId="{F9C27165-7AA1-4745-BC50-A0C5CBC58BFD}" type="pres">
      <dgm:prSet presAssocID="{2709E8C2-DFF0-4376-8471-F4C74708684B}" presName="level2Shape" presStyleLbl="node2" presStyleIdx="1" presStyleCnt="4"/>
      <dgm:spPr/>
      <dgm:t>
        <a:bodyPr/>
        <a:lstStyle/>
        <a:p>
          <a:endParaRPr lang="zh-CN" altLang="en-US"/>
        </a:p>
      </dgm:t>
    </dgm:pt>
    <dgm:pt modelId="{C0081C00-B929-4FAB-9BA9-B247C0684CA3}" type="pres">
      <dgm:prSet presAssocID="{2709E8C2-DFF0-4376-8471-F4C74708684B}" presName="hierChild3" presStyleCnt="0"/>
      <dgm:spPr/>
    </dgm:pt>
    <dgm:pt modelId="{4E30E52B-995F-408E-BDFE-006C4A2B45D3}" type="pres">
      <dgm:prSet presAssocID="{963CFACB-12F0-4C9E-BCD6-810371F387E5}" presName="Name19" presStyleLbl="parChTrans1D2" presStyleIdx="3" presStyleCnt="5"/>
      <dgm:spPr/>
      <dgm:t>
        <a:bodyPr/>
        <a:lstStyle/>
        <a:p>
          <a:endParaRPr lang="zh-CN" altLang="en-US"/>
        </a:p>
      </dgm:t>
    </dgm:pt>
    <dgm:pt modelId="{51BEE3C7-215C-4065-8DEA-8C9FA64D479E}" type="pres">
      <dgm:prSet presAssocID="{47F9E6D1-9F6B-4D28-BBDC-3B9B2FDEDC5D}" presName="Name21" presStyleCnt="0"/>
      <dgm:spPr/>
    </dgm:pt>
    <dgm:pt modelId="{E762BC71-82E7-431C-A6B8-BFF850F234FA}" type="pres">
      <dgm:prSet presAssocID="{47F9E6D1-9F6B-4D28-BBDC-3B9B2FDEDC5D}" presName="level2Shape" presStyleLbl="node2" presStyleIdx="2" presStyleCnt="4"/>
      <dgm:spPr/>
      <dgm:t>
        <a:bodyPr/>
        <a:lstStyle/>
        <a:p>
          <a:endParaRPr lang="zh-CN" altLang="en-US"/>
        </a:p>
      </dgm:t>
    </dgm:pt>
    <dgm:pt modelId="{A0739D40-9D73-4DAB-BB7F-342CAFD85327}" type="pres">
      <dgm:prSet presAssocID="{47F9E6D1-9F6B-4D28-BBDC-3B9B2FDEDC5D}" presName="hierChild3" presStyleCnt="0"/>
      <dgm:spPr/>
    </dgm:pt>
    <dgm:pt modelId="{8423AA3A-46D4-437B-814E-6CDF67F8AFDB}" type="pres">
      <dgm:prSet presAssocID="{6BB89147-5CA8-4AE5-91A6-AFBD87DF638E}" presName="Name19" presStyleLbl="parChTrans1D2" presStyleIdx="4" presStyleCnt="5"/>
      <dgm:spPr/>
      <dgm:t>
        <a:bodyPr/>
        <a:lstStyle/>
        <a:p>
          <a:endParaRPr lang="zh-CN" altLang="en-US"/>
        </a:p>
      </dgm:t>
    </dgm:pt>
    <dgm:pt modelId="{2D24F82F-BEAA-4A14-BBBC-7E82FE5715DD}" type="pres">
      <dgm:prSet presAssocID="{B45C148A-9D27-46F4-B072-FB172B11C82E}" presName="Name21" presStyleCnt="0"/>
      <dgm:spPr/>
    </dgm:pt>
    <dgm:pt modelId="{E8A2AB61-9BDB-4A8C-BE84-C48EB33F8558}" type="pres">
      <dgm:prSet presAssocID="{B45C148A-9D27-46F4-B072-FB172B11C82E}" presName="level2Shape" presStyleLbl="node2" presStyleIdx="3" presStyleCnt="4"/>
      <dgm:spPr/>
      <dgm:t>
        <a:bodyPr/>
        <a:lstStyle/>
        <a:p>
          <a:endParaRPr lang="zh-CN" altLang="en-US"/>
        </a:p>
      </dgm:t>
    </dgm:pt>
    <dgm:pt modelId="{4A294B10-E0F6-40F5-A768-BB44EEC36F0B}" type="pres">
      <dgm:prSet presAssocID="{B45C148A-9D27-46F4-B072-FB172B11C82E}" presName="hierChild3" presStyleCnt="0"/>
      <dgm:spPr/>
    </dgm:pt>
    <dgm:pt modelId="{6892A99D-71D6-4069-A7CA-F9EFA755F2DD}" type="pres">
      <dgm:prSet presAssocID="{EDBA78BF-2EB2-46CE-A426-56EF8E4D92E5}" presName="bgShapesFlow" presStyleCnt="0"/>
      <dgm:spPr/>
    </dgm:pt>
  </dgm:ptLst>
  <dgm:cxnLst>
    <dgm:cxn modelId="{9CACF0AA-3A8E-41CC-BF79-9DF589CAA2A3}" srcId="{57BA1C6E-9815-4A41-B37E-0E9BDF050DD6}" destId="{1A048A02-CBF8-4AA7-9513-1783BA2A9693}" srcOrd="0" destOrd="0" parTransId="{1622BBA7-8FAD-4F92-A8FF-61C12B3A1CC1}" sibTransId="{BDA5DD64-22CE-4C29-97C8-3E03EC98F718}"/>
    <dgm:cxn modelId="{2EA9AA68-0B3D-40DF-95B7-0C1FCD56CD10}" type="presOf" srcId="{1622BBA7-8FAD-4F92-A8FF-61C12B3A1CC1}" destId="{0D5B0913-A451-47B0-AD16-7332F1142CFD}" srcOrd="0" destOrd="0" presId="urn:microsoft.com/office/officeart/2005/8/layout/hierarchy6"/>
    <dgm:cxn modelId="{704DE0A6-415F-44FB-A9E0-B1C272229AB3}" srcId="{57BA1C6E-9815-4A41-B37E-0E9BDF050DD6}" destId="{7E05407F-0B84-4CF2-8D66-E1BB4285CC5B}" srcOrd="1" destOrd="0" parTransId="{3DF24F86-E1C3-4024-A4E8-4A689416C566}" sibTransId="{5622354A-A39F-4AA7-800D-3F4C2B3AB9D0}"/>
    <dgm:cxn modelId="{432F682C-720A-4251-BF31-4680354EEF19}" type="presOf" srcId="{EDBA78BF-2EB2-46CE-A426-56EF8E4D92E5}" destId="{BF624D3A-1654-4F7A-8862-EE61219B3430}" srcOrd="0" destOrd="0" presId="urn:microsoft.com/office/officeart/2005/8/layout/hierarchy6"/>
    <dgm:cxn modelId="{C62798C7-96F9-4508-A08E-37D4AB204106}" type="presOf" srcId="{1A048A02-CBF8-4AA7-9513-1783BA2A9693}" destId="{71BF2C04-8DD5-4913-9BFE-2873951E5ACF}" srcOrd="0" destOrd="0" presId="urn:microsoft.com/office/officeart/2005/8/layout/hierarchy6"/>
    <dgm:cxn modelId="{3EBAD3F9-F0CB-4863-ACD4-29B02B294687}" type="presOf" srcId="{B45C148A-9D27-46F4-B072-FB172B11C82E}" destId="{E8A2AB61-9BDB-4A8C-BE84-C48EB33F8558}" srcOrd="0" destOrd="0" presId="urn:microsoft.com/office/officeart/2005/8/layout/hierarchy6"/>
    <dgm:cxn modelId="{7937CC36-9BDB-4162-8765-2ED0B746417A}" srcId="{57BA1C6E-9815-4A41-B37E-0E9BDF050DD6}" destId="{47F9E6D1-9F6B-4D28-BBDC-3B9B2FDEDC5D}" srcOrd="3" destOrd="0" parTransId="{963CFACB-12F0-4C9E-BCD6-810371F387E5}" sibTransId="{ACB2EA3A-BA54-4059-8295-E1AAC23BCF33}"/>
    <dgm:cxn modelId="{01E02245-C4F1-4B92-875F-4912AE463C86}" type="presOf" srcId="{19B113E7-F7E7-4D64-850C-18C3B0D61FB3}" destId="{486BD69D-DB76-4348-857C-85BA943C0BFD}" srcOrd="0" destOrd="0" presId="urn:microsoft.com/office/officeart/2005/8/layout/hierarchy6"/>
    <dgm:cxn modelId="{04E45960-D4A4-44C0-9A52-C4A394FA0119}" type="presOf" srcId="{3DF24F86-E1C3-4024-A4E8-4A689416C566}" destId="{54F7537A-F5C9-4EB1-B3ED-A173A89F50DD}" srcOrd="0" destOrd="0" presId="urn:microsoft.com/office/officeart/2005/8/layout/hierarchy6"/>
    <dgm:cxn modelId="{06F1DBAA-6966-47FB-B16E-75C17DDAB278}" type="presOf" srcId="{47F9E6D1-9F6B-4D28-BBDC-3B9B2FDEDC5D}" destId="{E762BC71-82E7-431C-A6B8-BFF850F234FA}" srcOrd="0" destOrd="0" presId="urn:microsoft.com/office/officeart/2005/8/layout/hierarchy6"/>
    <dgm:cxn modelId="{999632F5-282D-4A3E-963B-5B952A75BDCB}" srcId="{EDBA78BF-2EB2-46CE-A426-56EF8E4D92E5}" destId="{57BA1C6E-9815-4A41-B37E-0E9BDF050DD6}" srcOrd="0" destOrd="0" parTransId="{4B128EFC-CDE8-4B6D-9963-42E117483BAC}" sibTransId="{FDFAF1F8-3F11-4172-B596-AE7B9DAA8BA5}"/>
    <dgm:cxn modelId="{77B5A56B-9F0A-4FBB-A2D6-EC4B94B69DC7}" srcId="{57BA1C6E-9815-4A41-B37E-0E9BDF050DD6}" destId="{B45C148A-9D27-46F4-B072-FB172B11C82E}" srcOrd="4" destOrd="0" parTransId="{6BB89147-5CA8-4AE5-91A6-AFBD87DF638E}" sibTransId="{914D379A-2B61-4FED-88DE-9FBCBF8D6AB2}"/>
    <dgm:cxn modelId="{BC416E02-FAB7-4EEF-9DF1-E86133AE97E4}" type="presOf" srcId="{7E05407F-0B84-4CF2-8D66-E1BB4285CC5B}" destId="{916E0FAA-F683-4BB3-AD62-CB481686BF8C}" srcOrd="0" destOrd="0" presId="urn:microsoft.com/office/officeart/2005/8/layout/hierarchy6"/>
    <dgm:cxn modelId="{B79E4ACC-49DD-4722-8187-DC26110BCA0A}" type="presOf" srcId="{57BA1C6E-9815-4A41-B37E-0E9BDF050DD6}" destId="{787DA92E-9BC3-4EE2-8CEF-99FB70C76E52}" srcOrd="0" destOrd="0" presId="urn:microsoft.com/office/officeart/2005/8/layout/hierarchy6"/>
    <dgm:cxn modelId="{51F50301-00D3-4EF6-8578-6E68D9319F58}" srcId="{57BA1C6E-9815-4A41-B37E-0E9BDF050DD6}" destId="{2709E8C2-DFF0-4376-8471-F4C74708684B}" srcOrd="2" destOrd="0" parTransId="{19B113E7-F7E7-4D64-850C-18C3B0D61FB3}" sibTransId="{08AD3346-CE63-4A41-B123-9431E7230E24}"/>
    <dgm:cxn modelId="{7BFBA284-18DF-4588-A49D-61115AD2DED2}" type="presOf" srcId="{2709E8C2-DFF0-4376-8471-F4C74708684B}" destId="{F9C27165-7AA1-4745-BC50-A0C5CBC58BFD}" srcOrd="0" destOrd="0" presId="urn:microsoft.com/office/officeart/2005/8/layout/hierarchy6"/>
    <dgm:cxn modelId="{7C3B5458-703C-4B10-9DE4-E2EEFD39FF0E}" type="presOf" srcId="{6BB89147-5CA8-4AE5-91A6-AFBD87DF638E}" destId="{8423AA3A-46D4-437B-814E-6CDF67F8AFDB}" srcOrd="0" destOrd="0" presId="urn:microsoft.com/office/officeart/2005/8/layout/hierarchy6"/>
    <dgm:cxn modelId="{A1EA15D8-33B9-40ED-BC98-4427C6788CE3}" type="presOf" srcId="{963CFACB-12F0-4C9E-BCD6-810371F387E5}" destId="{4E30E52B-995F-408E-BDFE-006C4A2B45D3}" srcOrd="0" destOrd="0" presId="urn:microsoft.com/office/officeart/2005/8/layout/hierarchy6"/>
    <dgm:cxn modelId="{54135899-EA43-406E-931F-A06B32E0DF2B}" type="presParOf" srcId="{BF624D3A-1654-4F7A-8862-EE61219B3430}" destId="{6ABBADBD-7A7D-4F5E-9E33-BF87F116C5BD}" srcOrd="0" destOrd="0" presId="urn:microsoft.com/office/officeart/2005/8/layout/hierarchy6"/>
    <dgm:cxn modelId="{301137F9-D652-4F56-9189-792053FAB706}" type="presParOf" srcId="{6ABBADBD-7A7D-4F5E-9E33-BF87F116C5BD}" destId="{551410B3-7642-452C-81F7-5FE0F25C442A}" srcOrd="0" destOrd="0" presId="urn:microsoft.com/office/officeart/2005/8/layout/hierarchy6"/>
    <dgm:cxn modelId="{FE92E7FC-7272-4FB4-82E0-E615C6043C7F}" type="presParOf" srcId="{551410B3-7642-452C-81F7-5FE0F25C442A}" destId="{9694DC34-44FA-4C4A-9139-F7351F02B8FE}" srcOrd="0" destOrd="0" presId="urn:microsoft.com/office/officeart/2005/8/layout/hierarchy6"/>
    <dgm:cxn modelId="{8180F668-5369-4C4F-90D8-A2187532771A}" type="presParOf" srcId="{9694DC34-44FA-4C4A-9139-F7351F02B8FE}" destId="{787DA92E-9BC3-4EE2-8CEF-99FB70C76E52}" srcOrd="0" destOrd="0" presId="urn:microsoft.com/office/officeart/2005/8/layout/hierarchy6"/>
    <dgm:cxn modelId="{836C5A6E-5DC1-4154-B998-7AB60C1C76D4}" type="presParOf" srcId="{9694DC34-44FA-4C4A-9139-F7351F02B8FE}" destId="{B6FC0C6A-5C9A-4B2C-AD25-95B8FC823146}" srcOrd="1" destOrd="0" presId="urn:microsoft.com/office/officeart/2005/8/layout/hierarchy6"/>
    <dgm:cxn modelId="{E340780E-FC11-40B5-8705-33FD835FF617}" type="presParOf" srcId="{B6FC0C6A-5C9A-4B2C-AD25-95B8FC823146}" destId="{0D5B0913-A451-47B0-AD16-7332F1142CFD}" srcOrd="0" destOrd="0" presId="urn:microsoft.com/office/officeart/2005/8/layout/hierarchy6"/>
    <dgm:cxn modelId="{8559B438-5590-4ADB-97AB-291EBD5F3427}" type="presParOf" srcId="{B6FC0C6A-5C9A-4B2C-AD25-95B8FC823146}" destId="{AEAD597F-7610-4DAA-97BA-D67409BFA997}" srcOrd="1" destOrd="0" presId="urn:microsoft.com/office/officeart/2005/8/layout/hierarchy6"/>
    <dgm:cxn modelId="{2D2A5737-7C8A-4BB9-A7ED-21B3CC70CA62}" type="presParOf" srcId="{AEAD597F-7610-4DAA-97BA-D67409BFA997}" destId="{71BF2C04-8DD5-4913-9BFE-2873951E5ACF}" srcOrd="0" destOrd="0" presId="urn:microsoft.com/office/officeart/2005/8/layout/hierarchy6"/>
    <dgm:cxn modelId="{0590361E-3C1B-46F8-A737-3267E4906A93}" type="presParOf" srcId="{AEAD597F-7610-4DAA-97BA-D67409BFA997}" destId="{91F4E962-DD51-43C4-81DB-E5E11EE2B2B3}" srcOrd="1" destOrd="0" presId="urn:microsoft.com/office/officeart/2005/8/layout/hierarchy6"/>
    <dgm:cxn modelId="{806F1EAB-A8A5-4D31-9C0A-9B06FD7D9379}" type="presParOf" srcId="{B6FC0C6A-5C9A-4B2C-AD25-95B8FC823146}" destId="{54F7537A-F5C9-4EB1-B3ED-A173A89F50DD}" srcOrd="2" destOrd="0" presId="urn:microsoft.com/office/officeart/2005/8/layout/hierarchy6"/>
    <dgm:cxn modelId="{02A5EECA-AE07-42E8-BC9F-7C0E2D444FD8}" type="presParOf" srcId="{B6FC0C6A-5C9A-4B2C-AD25-95B8FC823146}" destId="{40FCD70A-9E24-46B5-AE11-C8E860C19483}" srcOrd="3" destOrd="0" presId="urn:microsoft.com/office/officeart/2005/8/layout/hierarchy6"/>
    <dgm:cxn modelId="{57145ADD-F04C-4B79-A67C-39601CF23D6F}" type="presParOf" srcId="{40FCD70A-9E24-46B5-AE11-C8E860C19483}" destId="{916E0FAA-F683-4BB3-AD62-CB481686BF8C}" srcOrd="0" destOrd="0" presId="urn:microsoft.com/office/officeart/2005/8/layout/hierarchy6"/>
    <dgm:cxn modelId="{56E4F24A-7F2E-4AEE-9638-86A2704D0BC4}" type="presParOf" srcId="{40FCD70A-9E24-46B5-AE11-C8E860C19483}" destId="{75491933-D804-46E2-8C7E-DADDA7681A72}" srcOrd="1" destOrd="0" presId="urn:microsoft.com/office/officeart/2005/8/layout/hierarchy6"/>
    <dgm:cxn modelId="{4413250F-6777-4FFE-8AE3-A261B9705649}" type="presParOf" srcId="{B6FC0C6A-5C9A-4B2C-AD25-95B8FC823146}" destId="{486BD69D-DB76-4348-857C-85BA943C0BFD}" srcOrd="4" destOrd="0" presId="urn:microsoft.com/office/officeart/2005/8/layout/hierarchy6"/>
    <dgm:cxn modelId="{A41E3BF9-A99A-4C13-9E38-B760EF426BD1}" type="presParOf" srcId="{B6FC0C6A-5C9A-4B2C-AD25-95B8FC823146}" destId="{4078C0C4-D4A2-401C-BE25-D026130FCFFB}" srcOrd="5" destOrd="0" presId="urn:microsoft.com/office/officeart/2005/8/layout/hierarchy6"/>
    <dgm:cxn modelId="{0B3D0337-A5B2-4A69-8870-5D231C32CEE6}" type="presParOf" srcId="{4078C0C4-D4A2-401C-BE25-D026130FCFFB}" destId="{F9C27165-7AA1-4745-BC50-A0C5CBC58BFD}" srcOrd="0" destOrd="0" presId="urn:microsoft.com/office/officeart/2005/8/layout/hierarchy6"/>
    <dgm:cxn modelId="{0F84D436-12EA-4E0E-A14D-5657946576C6}" type="presParOf" srcId="{4078C0C4-D4A2-401C-BE25-D026130FCFFB}" destId="{C0081C00-B929-4FAB-9BA9-B247C0684CA3}" srcOrd="1" destOrd="0" presId="urn:microsoft.com/office/officeart/2005/8/layout/hierarchy6"/>
    <dgm:cxn modelId="{3C18286D-8CCE-4C6A-88FC-B8F1A62F1C30}" type="presParOf" srcId="{B6FC0C6A-5C9A-4B2C-AD25-95B8FC823146}" destId="{4E30E52B-995F-408E-BDFE-006C4A2B45D3}" srcOrd="6" destOrd="0" presId="urn:microsoft.com/office/officeart/2005/8/layout/hierarchy6"/>
    <dgm:cxn modelId="{AA716A47-1534-44A5-BA51-59DA89152FB7}" type="presParOf" srcId="{B6FC0C6A-5C9A-4B2C-AD25-95B8FC823146}" destId="{51BEE3C7-215C-4065-8DEA-8C9FA64D479E}" srcOrd="7" destOrd="0" presId="urn:microsoft.com/office/officeart/2005/8/layout/hierarchy6"/>
    <dgm:cxn modelId="{658C080E-E09E-41EE-9E45-1CAEC9C16C41}" type="presParOf" srcId="{51BEE3C7-215C-4065-8DEA-8C9FA64D479E}" destId="{E762BC71-82E7-431C-A6B8-BFF850F234FA}" srcOrd="0" destOrd="0" presId="urn:microsoft.com/office/officeart/2005/8/layout/hierarchy6"/>
    <dgm:cxn modelId="{D0552948-795E-4159-9D2B-B921AE674EF6}" type="presParOf" srcId="{51BEE3C7-215C-4065-8DEA-8C9FA64D479E}" destId="{A0739D40-9D73-4DAB-BB7F-342CAFD85327}" srcOrd="1" destOrd="0" presId="urn:microsoft.com/office/officeart/2005/8/layout/hierarchy6"/>
    <dgm:cxn modelId="{ACC5E8D5-D739-48D5-99D3-5F52268C7292}" type="presParOf" srcId="{B6FC0C6A-5C9A-4B2C-AD25-95B8FC823146}" destId="{8423AA3A-46D4-437B-814E-6CDF67F8AFDB}" srcOrd="8" destOrd="0" presId="urn:microsoft.com/office/officeart/2005/8/layout/hierarchy6"/>
    <dgm:cxn modelId="{8A9AF4FC-6DDB-4E19-9C8C-8664B3894F14}" type="presParOf" srcId="{B6FC0C6A-5C9A-4B2C-AD25-95B8FC823146}" destId="{2D24F82F-BEAA-4A14-BBBC-7E82FE5715DD}" srcOrd="9" destOrd="0" presId="urn:microsoft.com/office/officeart/2005/8/layout/hierarchy6"/>
    <dgm:cxn modelId="{308DE5D4-D89D-44EC-814B-95FC7D6F5BC5}" type="presParOf" srcId="{2D24F82F-BEAA-4A14-BBBC-7E82FE5715DD}" destId="{E8A2AB61-9BDB-4A8C-BE84-C48EB33F8558}" srcOrd="0" destOrd="0" presId="urn:microsoft.com/office/officeart/2005/8/layout/hierarchy6"/>
    <dgm:cxn modelId="{BADB5126-2158-4C3A-B1D9-F5FF4F415564}" type="presParOf" srcId="{2D24F82F-BEAA-4A14-BBBC-7E82FE5715DD}" destId="{4A294B10-E0F6-40F5-A768-BB44EEC36F0B}" srcOrd="1" destOrd="0" presId="urn:microsoft.com/office/officeart/2005/8/layout/hierarchy6"/>
    <dgm:cxn modelId="{628854A2-F925-4C17-B782-E163E16BD4B8}" type="presParOf" srcId="{BF624D3A-1654-4F7A-8862-EE61219B3430}" destId="{6892A99D-71D6-4069-A7CA-F9EFA755F2DD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DBA78BF-2EB2-46CE-A426-56EF8E4D92E5}" type="doc">
      <dgm:prSet loTypeId="urn:microsoft.com/office/officeart/2005/8/layout/hierarchy6" loCatId="hierarchy" qsTypeId="urn:microsoft.com/office/officeart/2005/8/quickstyle/3d2" qsCatId="3D" csTypeId="urn:microsoft.com/office/officeart/2005/8/colors/colorful1#2" csCatId="colorful" phldr="1"/>
      <dgm:spPr/>
      <dgm:t>
        <a:bodyPr/>
        <a:lstStyle/>
        <a:p>
          <a:endParaRPr lang="zh-CN" altLang="en-US"/>
        </a:p>
      </dgm:t>
    </dgm:pt>
    <dgm:pt modelId="{57BA1C6E-9815-4A41-B37E-0E9BDF050DD6}">
      <dgm:prSet phldrT="[文本]"/>
      <dgm:spPr/>
      <dgm:t>
        <a:bodyPr/>
        <a:lstStyle/>
        <a:p>
          <a:r>
            <a:rPr lang="zh-CN" altLang="en-US" dirty="0" smtClean="0"/>
            <a:t>业务系统</a:t>
          </a:r>
          <a:endParaRPr lang="zh-CN" altLang="en-US" dirty="0"/>
        </a:p>
      </dgm:t>
    </dgm:pt>
    <dgm:pt modelId="{4B128EFC-CDE8-4B6D-9963-42E117483BAC}" type="parTrans" cxnId="{999632F5-282D-4A3E-963B-5B952A75BDCB}">
      <dgm:prSet/>
      <dgm:spPr/>
      <dgm:t>
        <a:bodyPr/>
        <a:lstStyle/>
        <a:p>
          <a:endParaRPr lang="zh-CN" altLang="en-US"/>
        </a:p>
      </dgm:t>
    </dgm:pt>
    <dgm:pt modelId="{FDFAF1F8-3F11-4172-B596-AE7B9DAA8BA5}" type="sibTrans" cxnId="{999632F5-282D-4A3E-963B-5B952A75BDCB}">
      <dgm:prSet/>
      <dgm:spPr/>
      <dgm:t>
        <a:bodyPr/>
        <a:lstStyle/>
        <a:p>
          <a:endParaRPr lang="zh-CN" altLang="en-US"/>
        </a:p>
      </dgm:t>
    </dgm:pt>
    <dgm:pt modelId="{1A048A02-CBF8-4AA7-9513-1783BA2A9693}" type="asst">
      <dgm:prSet phldrT="[文本]"/>
      <dgm:spPr/>
      <dgm:t>
        <a:bodyPr/>
        <a:lstStyle/>
        <a:p>
          <a:r>
            <a:rPr lang="zh-CN" altLang="en-US" dirty="0" smtClean="0"/>
            <a:t>用户</a:t>
          </a:r>
          <a:endParaRPr lang="zh-CN" altLang="en-US" dirty="0"/>
        </a:p>
      </dgm:t>
    </dgm:pt>
    <dgm:pt modelId="{1622BBA7-8FAD-4F92-A8FF-61C12B3A1CC1}" type="parTrans" cxnId="{9CACF0AA-3A8E-41CC-BF79-9DF589CAA2A3}">
      <dgm:prSet/>
      <dgm:spPr/>
      <dgm:t>
        <a:bodyPr/>
        <a:lstStyle/>
        <a:p>
          <a:endParaRPr lang="zh-CN" altLang="en-US"/>
        </a:p>
      </dgm:t>
    </dgm:pt>
    <dgm:pt modelId="{BDA5DD64-22CE-4C29-97C8-3E03EC98F718}" type="sibTrans" cxnId="{9CACF0AA-3A8E-41CC-BF79-9DF589CAA2A3}">
      <dgm:prSet/>
      <dgm:spPr/>
      <dgm:t>
        <a:bodyPr/>
        <a:lstStyle/>
        <a:p>
          <a:endParaRPr lang="zh-CN" altLang="en-US"/>
        </a:p>
      </dgm:t>
    </dgm:pt>
    <dgm:pt modelId="{7E05407F-0B84-4CF2-8D66-E1BB4285CC5B}">
      <dgm:prSet phldrT="[文本]"/>
      <dgm:spPr/>
      <dgm:t>
        <a:bodyPr/>
        <a:lstStyle/>
        <a:p>
          <a:r>
            <a:rPr lang="zh-CN" altLang="en-US" dirty="0" smtClean="0"/>
            <a:t>业务管理</a:t>
          </a:r>
          <a:endParaRPr lang="zh-CN" altLang="en-US" dirty="0"/>
        </a:p>
      </dgm:t>
    </dgm:pt>
    <dgm:pt modelId="{3DF24F86-E1C3-4024-A4E8-4A689416C566}" type="parTrans" cxnId="{704DE0A6-415F-44FB-A9E0-B1C272229AB3}">
      <dgm:prSet/>
      <dgm:spPr/>
      <dgm:t>
        <a:bodyPr/>
        <a:lstStyle/>
        <a:p>
          <a:endParaRPr lang="zh-CN" altLang="en-US"/>
        </a:p>
      </dgm:t>
    </dgm:pt>
    <dgm:pt modelId="{5622354A-A39F-4AA7-800D-3F4C2B3AB9D0}" type="sibTrans" cxnId="{704DE0A6-415F-44FB-A9E0-B1C272229AB3}">
      <dgm:prSet/>
      <dgm:spPr/>
      <dgm:t>
        <a:bodyPr/>
        <a:lstStyle/>
        <a:p>
          <a:endParaRPr lang="zh-CN" altLang="en-US"/>
        </a:p>
      </dgm:t>
    </dgm:pt>
    <dgm:pt modelId="{2709E8C2-DFF0-4376-8471-F4C74708684B}">
      <dgm:prSet phldrT="[文本]"/>
      <dgm:spPr/>
      <dgm:t>
        <a:bodyPr/>
        <a:lstStyle/>
        <a:p>
          <a:r>
            <a:rPr lang="zh-CN" altLang="en-US" dirty="0" smtClean="0"/>
            <a:t>常用参数</a:t>
          </a:r>
          <a:endParaRPr lang="zh-CN" altLang="en-US" dirty="0"/>
        </a:p>
      </dgm:t>
    </dgm:pt>
    <dgm:pt modelId="{19B113E7-F7E7-4D64-850C-18C3B0D61FB3}" type="parTrans" cxnId="{51F50301-00D3-4EF6-8578-6E68D9319F58}">
      <dgm:prSet/>
      <dgm:spPr/>
      <dgm:t>
        <a:bodyPr/>
        <a:lstStyle/>
        <a:p>
          <a:endParaRPr lang="zh-CN" altLang="en-US"/>
        </a:p>
      </dgm:t>
    </dgm:pt>
    <dgm:pt modelId="{08AD3346-CE63-4A41-B123-9431E7230E24}" type="sibTrans" cxnId="{51F50301-00D3-4EF6-8578-6E68D9319F58}">
      <dgm:prSet/>
      <dgm:spPr/>
      <dgm:t>
        <a:bodyPr/>
        <a:lstStyle/>
        <a:p>
          <a:endParaRPr lang="zh-CN" altLang="en-US"/>
        </a:p>
      </dgm:t>
    </dgm:pt>
    <dgm:pt modelId="{47F9E6D1-9F6B-4D28-BBDC-3B9B2FDEDC5D}">
      <dgm:prSet phldrT="[文本]"/>
      <dgm:spPr/>
      <dgm:t>
        <a:bodyPr/>
        <a:lstStyle/>
        <a:p>
          <a:r>
            <a:rPr lang="zh-CN" altLang="en-US" dirty="0" smtClean="0"/>
            <a:t>报表</a:t>
          </a:r>
          <a:endParaRPr lang="zh-CN" altLang="en-US" dirty="0"/>
        </a:p>
      </dgm:t>
    </dgm:pt>
    <dgm:pt modelId="{963CFACB-12F0-4C9E-BCD6-810371F387E5}" type="parTrans" cxnId="{7937CC36-9BDB-4162-8765-2ED0B746417A}">
      <dgm:prSet/>
      <dgm:spPr/>
      <dgm:t>
        <a:bodyPr/>
        <a:lstStyle/>
        <a:p>
          <a:endParaRPr lang="zh-CN" altLang="en-US"/>
        </a:p>
      </dgm:t>
    </dgm:pt>
    <dgm:pt modelId="{ACB2EA3A-BA54-4059-8295-E1AAC23BCF33}" type="sibTrans" cxnId="{7937CC36-9BDB-4162-8765-2ED0B746417A}">
      <dgm:prSet/>
      <dgm:spPr/>
      <dgm:t>
        <a:bodyPr/>
        <a:lstStyle/>
        <a:p>
          <a:endParaRPr lang="zh-CN" altLang="en-US"/>
        </a:p>
      </dgm:t>
    </dgm:pt>
    <dgm:pt modelId="{B45C148A-9D27-46F4-B072-FB172B11C82E}">
      <dgm:prSet phldrT="[文本]"/>
      <dgm:spPr/>
      <dgm:t>
        <a:bodyPr/>
        <a:lstStyle/>
        <a:p>
          <a:r>
            <a:rPr lang="zh-CN" altLang="en-US" dirty="0" smtClean="0"/>
            <a:t>其它系统视图</a:t>
          </a:r>
          <a:endParaRPr lang="zh-CN" altLang="en-US" dirty="0"/>
        </a:p>
      </dgm:t>
    </dgm:pt>
    <dgm:pt modelId="{6BB89147-5CA8-4AE5-91A6-AFBD87DF638E}" type="parTrans" cxnId="{77B5A56B-9F0A-4FBB-A2D6-EC4B94B69DC7}">
      <dgm:prSet/>
      <dgm:spPr/>
      <dgm:t>
        <a:bodyPr/>
        <a:lstStyle/>
        <a:p>
          <a:endParaRPr lang="zh-CN" altLang="en-US"/>
        </a:p>
      </dgm:t>
    </dgm:pt>
    <dgm:pt modelId="{914D379A-2B61-4FED-88DE-9FBCBF8D6AB2}" type="sibTrans" cxnId="{77B5A56B-9F0A-4FBB-A2D6-EC4B94B69DC7}">
      <dgm:prSet/>
      <dgm:spPr/>
      <dgm:t>
        <a:bodyPr/>
        <a:lstStyle/>
        <a:p>
          <a:endParaRPr lang="zh-CN" altLang="en-US"/>
        </a:p>
      </dgm:t>
    </dgm:pt>
    <dgm:pt modelId="{BF624D3A-1654-4F7A-8862-EE61219B3430}" type="pres">
      <dgm:prSet presAssocID="{EDBA78BF-2EB2-46CE-A426-56EF8E4D92E5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6ABBADBD-7A7D-4F5E-9E33-BF87F116C5BD}" type="pres">
      <dgm:prSet presAssocID="{EDBA78BF-2EB2-46CE-A426-56EF8E4D92E5}" presName="hierFlow" presStyleCnt="0"/>
      <dgm:spPr/>
    </dgm:pt>
    <dgm:pt modelId="{551410B3-7642-452C-81F7-5FE0F25C442A}" type="pres">
      <dgm:prSet presAssocID="{EDBA78BF-2EB2-46CE-A426-56EF8E4D92E5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9694DC34-44FA-4C4A-9139-F7351F02B8FE}" type="pres">
      <dgm:prSet presAssocID="{57BA1C6E-9815-4A41-B37E-0E9BDF050DD6}" presName="Name14" presStyleCnt="0"/>
      <dgm:spPr/>
    </dgm:pt>
    <dgm:pt modelId="{787DA92E-9BC3-4EE2-8CEF-99FB70C76E52}" type="pres">
      <dgm:prSet presAssocID="{57BA1C6E-9815-4A41-B37E-0E9BDF050DD6}" presName="level1Shape" presStyleLbl="node0" presStyleIdx="0" presStyleCnt="1" custScaleX="180785" custLinFactNeighborY="-10336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B6FC0C6A-5C9A-4B2C-AD25-95B8FC823146}" type="pres">
      <dgm:prSet presAssocID="{57BA1C6E-9815-4A41-B37E-0E9BDF050DD6}" presName="hierChild2" presStyleCnt="0"/>
      <dgm:spPr/>
    </dgm:pt>
    <dgm:pt modelId="{0D5B0913-A451-47B0-AD16-7332F1142CFD}" type="pres">
      <dgm:prSet presAssocID="{1622BBA7-8FAD-4F92-A8FF-61C12B3A1CC1}" presName="Name19" presStyleLbl="parChTrans1D2" presStyleIdx="0" presStyleCnt="5"/>
      <dgm:spPr/>
      <dgm:t>
        <a:bodyPr/>
        <a:lstStyle/>
        <a:p>
          <a:endParaRPr lang="zh-CN" altLang="en-US"/>
        </a:p>
      </dgm:t>
    </dgm:pt>
    <dgm:pt modelId="{AEAD597F-7610-4DAA-97BA-D67409BFA997}" type="pres">
      <dgm:prSet presAssocID="{1A048A02-CBF8-4AA7-9513-1783BA2A9693}" presName="Name21" presStyleCnt="0"/>
      <dgm:spPr/>
    </dgm:pt>
    <dgm:pt modelId="{71BF2C04-8DD5-4913-9BFE-2873951E5ACF}" type="pres">
      <dgm:prSet presAssocID="{1A048A02-CBF8-4AA7-9513-1783BA2A9693}" presName="level2Shape" presStyleLbl="asst1" presStyleIdx="0" presStyleCnt="1"/>
      <dgm:spPr/>
      <dgm:t>
        <a:bodyPr/>
        <a:lstStyle/>
        <a:p>
          <a:endParaRPr lang="zh-CN" altLang="en-US"/>
        </a:p>
      </dgm:t>
    </dgm:pt>
    <dgm:pt modelId="{91F4E962-DD51-43C4-81DB-E5E11EE2B2B3}" type="pres">
      <dgm:prSet presAssocID="{1A048A02-CBF8-4AA7-9513-1783BA2A9693}" presName="hierChild3" presStyleCnt="0"/>
      <dgm:spPr/>
    </dgm:pt>
    <dgm:pt modelId="{54F7537A-F5C9-4EB1-B3ED-A173A89F50DD}" type="pres">
      <dgm:prSet presAssocID="{3DF24F86-E1C3-4024-A4E8-4A689416C566}" presName="Name19" presStyleLbl="parChTrans1D2" presStyleIdx="1" presStyleCnt="5"/>
      <dgm:spPr/>
      <dgm:t>
        <a:bodyPr/>
        <a:lstStyle/>
        <a:p>
          <a:endParaRPr lang="zh-CN" altLang="en-US"/>
        </a:p>
      </dgm:t>
    </dgm:pt>
    <dgm:pt modelId="{40FCD70A-9E24-46B5-AE11-C8E860C19483}" type="pres">
      <dgm:prSet presAssocID="{7E05407F-0B84-4CF2-8D66-E1BB4285CC5B}" presName="Name21" presStyleCnt="0"/>
      <dgm:spPr/>
    </dgm:pt>
    <dgm:pt modelId="{916E0FAA-F683-4BB3-AD62-CB481686BF8C}" type="pres">
      <dgm:prSet presAssocID="{7E05407F-0B84-4CF2-8D66-E1BB4285CC5B}" presName="level2Shape" presStyleLbl="node2" presStyleIdx="0" presStyleCnt="4"/>
      <dgm:spPr/>
      <dgm:t>
        <a:bodyPr/>
        <a:lstStyle/>
        <a:p>
          <a:endParaRPr lang="zh-CN" altLang="en-US"/>
        </a:p>
      </dgm:t>
    </dgm:pt>
    <dgm:pt modelId="{75491933-D804-46E2-8C7E-DADDA7681A72}" type="pres">
      <dgm:prSet presAssocID="{7E05407F-0B84-4CF2-8D66-E1BB4285CC5B}" presName="hierChild3" presStyleCnt="0"/>
      <dgm:spPr/>
    </dgm:pt>
    <dgm:pt modelId="{486BD69D-DB76-4348-857C-85BA943C0BFD}" type="pres">
      <dgm:prSet presAssocID="{19B113E7-F7E7-4D64-850C-18C3B0D61FB3}" presName="Name19" presStyleLbl="parChTrans1D2" presStyleIdx="2" presStyleCnt="5"/>
      <dgm:spPr/>
      <dgm:t>
        <a:bodyPr/>
        <a:lstStyle/>
        <a:p>
          <a:endParaRPr lang="zh-CN" altLang="en-US"/>
        </a:p>
      </dgm:t>
    </dgm:pt>
    <dgm:pt modelId="{4078C0C4-D4A2-401C-BE25-D026130FCFFB}" type="pres">
      <dgm:prSet presAssocID="{2709E8C2-DFF0-4376-8471-F4C74708684B}" presName="Name21" presStyleCnt="0"/>
      <dgm:spPr/>
    </dgm:pt>
    <dgm:pt modelId="{F9C27165-7AA1-4745-BC50-A0C5CBC58BFD}" type="pres">
      <dgm:prSet presAssocID="{2709E8C2-DFF0-4376-8471-F4C74708684B}" presName="level2Shape" presStyleLbl="node2" presStyleIdx="1" presStyleCnt="4"/>
      <dgm:spPr/>
      <dgm:t>
        <a:bodyPr/>
        <a:lstStyle/>
        <a:p>
          <a:endParaRPr lang="zh-CN" altLang="en-US"/>
        </a:p>
      </dgm:t>
    </dgm:pt>
    <dgm:pt modelId="{C0081C00-B929-4FAB-9BA9-B247C0684CA3}" type="pres">
      <dgm:prSet presAssocID="{2709E8C2-DFF0-4376-8471-F4C74708684B}" presName="hierChild3" presStyleCnt="0"/>
      <dgm:spPr/>
    </dgm:pt>
    <dgm:pt modelId="{4E30E52B-995F-408E-BDFE-006C4A2B45D3}" type="pres">
      <dgm:prSet presAssocID="{963CFACB-12F0-4C9E-BCD6-810371F387E5}" presName="Name19" presStyleLbl="parChTrans1D2" presStyleIdx="3" presStyleCnt="5"/>
      <dgm:spPr/>
      <dgm:t>
        <a:bodyPr/>
        <a:lstStyle/>
        <a:p>
          <a:endParaRPr lang="zh-CN" altLang="en-US"/>
        </a:p>
      </dgm:t>
    </dgm:pt>
    <dgm:pt modelId="{51BEE3C7-215C-4065-8DEA-8C9FA64D479E}" type="pres">
      <dgm:prSet presAssocID="{47F9E6D1-9F6B-4D28-BBDC-3B9B2FDEDC5D}" presName="Name21" presStyleCnt="0"/>
      <dgm:spPr/>
    </dgm:pt>
    <dgm:pt modelId="{E762BC71-82E7-431C-A6B8-BFF850F234FA}" type="pres">
      <dgm:prSet presAssocID="{47F9E6D1-9F6B-4D28-BBDC-3B9B2FDEDC5D}" presName="level2Shape" presStyleLbl="node2" presStyleIdx="2" presStyleCnt="4"/>
      <dgm:spPr/>
      <dgm:t>
        <a:bodyPr/>
        <a:lstStyle/>
        <a:p>
          <a:endParaRPr lang="zh-CN" altLang="en-US"/>
        </a:p>
      </dgm:t>
    </dgm:pt>
    <dgm:pt modelId="{A0739D40-9D73-4DAB-BB7F-342CAFD85327}" type="pres">
      <dgm:prSet presAssocID="{47F9E6D1-9F6B-4D28-BBDC-3B9B2FDEDC5D}" presName="hierChild3" presStyleCnt="0"/>
      <dgm:spPr/>
    </dgm:pt>
    <dgm:pt modelId="{8423AA3A-46D4-437B-814E-6CDF67F8AFDB}" type="pres">
      <dgm:prSet presAssocID="{6BB89147-5CA8-4AE5-91A6-AFBD87DF638E}" presName="Name19" presStyleLbl="parChTrans1D2" presStyleIdx="4" presStyleCnt="5"/>
      <dgm:spPr/>
      <dgm:t>
        <a:bodyPr/>
        <a:lstStyle/>
        <a:p>
          <a:endParaRPr lang="zh-CN" altLang="en-US"/>
        </a:p>
      </dgm:t>
    </dgm:pt>
    <dgm:pt modelId="{2D24F82F-BEAA-4A14-BBBC-7E82FE5715DD}" type="pres">
      <dgm:prSet presAssocID="{B45C148A-9D27-46F4-B072-FB172B11C82E}" presName="Name21" presStyleCnt="0"/>
      <dgm:spPr/>
    </dgm:pt>
    <dgm:pt modelId="{E8A2AB61-9BDB-4A8C-BE84-C48EB33F8558}" type="pres">
      <dgm:prSet presAssocID="{B45C148A-9D27-46F4-B072-FB172B11C82E}" presName="level2Shape" presStyleLbl="node2" presStyleIdx="3" presStyleCnt="4"/>
      <dgm:spPr/>
      <dgm:t>
        <a:bodyPr/>
        <a:lstStyle/>
        <a:p>
          <a:endParaRPr lang="zh-CN" altLang="en-US"/>
        </a:p>
      </dgm:t>
    </dgm:pt>
    <dgm:pt modelId="{4A294B10-E0F6-40F5-A768-BB44EEC36F0B}" type="pres">
      <dgm:prSet presAssocID="{B45C148A-9D27-46F4-B072-FB172B11C82E}" presName="hierChild3" presStyleCnt="0"/>
      <dgm:spPr/>
    </dgm:pt>
    <dgm:pt modelId="{6892A99D-71D6-4069-A7CA-F9EFA755F2DD}" type="pres">
      <dgm:prSet presAssocID="{EDBA78BF-2EB2-46CE-A426-56EF8E4D92E5}" presName="bgShapesFlow" presStyleCnt="0"/>
      <dgm:spPr/>
    </dgm:pt>
  </dgm:ptLst>
  <dgm:cxnLst>
    <dgm:cxn modelId="{0F990D8E-9F72-47E0-AC4D-337A286A5E91}" type="presOf" srcId="{963CFACB-12F0-4C9E-BCD6-810371F387E5}" destId="{4E30E52B-995F-408E-BDFE-006C4A2B45D3}" srcOrd="0" destOrd="0" presId="urn:microsoft.com/office/officeart/2005/8/layout/hierarchy6"/>
    <dgm:cxn modelId="{BDD37407-68F9-481D-8079-E7E7CC1320F2}" type="presOf" srcId="{57BA1C6E-9815-4A41-B37E-0E9BDF050DD6}" destId="{787DA92E-9BC3-4EE2-8CEF-99FB70C76E52}" srcOrd="0" destOrd="0" presId="urn:microsoft.com/office/officeart/2005/8/layout/hierarchy6"/>
    <dgm:cxn modelId="{51F50301-00D3-4EF6-8578-6E68D9319F58}" srcId="{57BA1C6E-9815-4A41-B37E-0E9BDF050DD6}" destId="{2709E8C2-DFF0-4376-8471-F4C74708684B}" srcOrd="2" destOrd="0" parTransId="{19B113E7-F7E7-4D64-850C-18C3B0D61FB3}" sibTransId="{08AD3346-CE63-4A41-B123-9431E7230E24}"/>
    <dgm:cxn modelId="{B73CDF0E-D163-4070-B7B7-CA7709463639}" type="presOf" srcId="{19B113E7-F7E7-4D64-850C-18C3B0D61FB3}" destId="{486BD69D-DB76-4348-857C-85BA943C0BFD}" srcOrd="0" destOrd="0" presId="urn:microsoft.com/office/officeart/2005/8/layout/hierarchy6"/>
    <dgm:cxn modelId="{063DCFE6-C700-45F0-BE30-086A38ADEE3F}" type="presOf" srcId="{47F9E6D1-9F6B-4D28-BBDC-3B9B2FDEDC5D}" destId="{E762BC71-82E7-431C-A6B8-BFF850F234FA}" srcOrd="0" destOrd="0" presId="urn:microsoft.com/office/officeart/2005/8/layout/hierarchy6"/>
    <dgm:cxn modelId="{704DE0A6-415F-44FB-A9E0-B1C272229AB3}" srcId="{57BA1C6E-9815-4A41-B37E-0E9BDF050DD6}" destId="{7E05407F-0B84-4CF2-8D66-E1BB4285CC5B}" srcOrd="1" destOrd="0" parTransId="{3DF24F86-E1C3-4024-A4E8-4A689416C566}" sibTransId="{5622354A-A39F-4AA7-800D-3F4C2B3AB9D0}"/>
    <dgm:cxn modelId="{BA81A9F4-C2DE-4650-8B6C-513ACB685EC3}" type="presOf" srcId="{6BB89147-5CA8-4AE5-91A6-AFBD87DF638E}" destId="{8423AA3A-46D4-437B-814E-6CDF67F8AFDB}" srcOrd="0" destOrd="0" presId="urn:microsoft.com/office/officeart/2005/8/layout/hierarchy6"/>
    <dgm:cxn modelId="{77B5A56B-9F0A-4FBB-A2D6-EC4B94B69DC7}" srcId="{57BA1C6E-9815-4A41-B37E-0E9BDF050DD6}" destId="{B45C148A-9D27-46F4-B072-FB172B11C82E}" srcOrd="4" destOrd="0" parTransId="{6BB89147-5CA8-4AE5-91A6-AFBD87DF638E}" sibTransId="{914D379A-2B61-4FED-88DE-9FBCBF8D6AB2}"/>
    <dgm:cxn modelId="{459C1DBB-B1F7-4466-B0BA-EB60154ADF8F}" type="presOf" srcId="{EDBA78BF-2EB2-46CE-A426-56EF8E4D92E5}" destId="{BF624D3A-1654-4F7A-8862-EE61219B3430}" srcOrd="0" destOrd="0" presId="urn:microsoft.com/office/officeart/2005/8/layout/hierarchy6"/>
    <dgm:cxn modelId="{079720AF-6714-40E3-B58C-6B96EED97DB6}" type="presOf" srcId="{B45C148A-9D27-46F4-B072-FB172B11C82E}" destId="{E8A2AB61-9BDB-4A8C-BE84-C48EB33F8558}" srcOrd="0" destOrd="0" presId="urn:microsoft.com/office/officeart/2005/8/layout/hierarchy6"/>
    <dgm:cxn modelId="{7937CC36-9BDB-4162-8765-2ED0B746417A}" srcId="{57BA1C6E-9815-4A41-B37E-0E9BDF050DD6}" destId="{47F9E6D1-9F6B-4D28-BBDC-3B9B2FDEDC5D}" srcOrd="3" destOrd="0" parTransId="{963CFACB-12F0-4C9E-BCD6-810371F387E5}" sibTransId="{ACB2EA3A-BA54-4059-8295-E1AAC23BCF33}"/>
    <dgm:cxn modelId="{2D618305-60E5-4EA9-8E54-52B5FD57C4E4}" type="presOf" srcId="{1622BBA7-8FAD-4F92-A8FF-61C12B3A1CC1}" destId="{0D5B0913-A451-47B0-AD16-7332F1142CFD}" srcOrd="0" destOrd="0" presId="urn:microsoft.com/office/officeart/2005/8/layout/hierarchy6"/>
    <dgm:cxn modelId="{999632F5-282D-4A3E-963B-5B952A75BDCB}" srcId="{EDBA78BF-2EB2-46CE-A426-56EF8E4D92E5}" destId="{57BA1C6E-9815-4A41-B37E-0E9BDF050DD6}" srcOrd="0" destOrd="0" parTransId="{4B128EFC-CDE8-4B6D-9963-42E117483BAC}" sibTransId="{FDFAF1F8-3F11-4172-B596-AE7B9DAA8BA5}"/>
    <dgm:cxn modelId="{A0D685B2-50A0-4D57-A9F9-54C4EC2C3574}" type="presOf" srcId="{3DF24F86-E1C3-4024-A4E8-4A689416C566}" destId="{54F7537A-F5C9-4EB1-B3ED-A173A89F50DD}" srcOrd="0" destOrd="0" presId="urn:microsoft.com/office/officeart/2005/8/layout/hierarchy6"/>
    <dgm:cxn modelId="{9CACF0AA-3A8E-41CC-BF79-9DF589CAA2A3}" srcId="{57BA1C6E-9815-4A41-B37E-0E9BDF050DD6}" destId="{1A048A02-CBF8-4AA7-9513-1783BA2A9693}" srcOrd="0" destOrd="0" parTransId="{1622BBA7-8FAD-4F92-A8FF-61C12B3A1CC1}" sibTransId="{BDA5DD64-22CE-4C29-97C8-3E03EC98F718}"/>
    <dgm:cxn modelId="{9AA371B9-3E42-416D-A9BA-4C8D9F5BEA8E}" type="presOf" srcId="{7E05407F-0B84-4CF2-8D66-E1BB4285CC5B}" destId="{916E0FAA-F683-4BB3-AD62-CB481686BF8C}" srcOrd="0" destOrd="0" presId="urn:microsoft.com/office/officeart/2005/8/layout/hierarchy6"/>
    <dgm:cxn modelId="{69564071-92EA-49A7-B6DE-B586904705B9}" type="presOf" srcId="{2709E8C2-DFF0-4376-8471-F4C74708684B}" destId="{F9C27165-7AA1-4745-BC50-A0C5CBC58BFD}" srcOrd="0" destOrd="0" presId="urn:microsoft.com/office/officeart/2005/8/layout/hierarchy6"/>
    <dgm:cxn modelId="{8C95FF4E-B95B-43ED-8400-31DB1BCC8E1A}" type="presOf" srcId="{1A048A02-CBF8-4AA7-9513-1783BA2A9693}" destId="{71BF2C04-8DD5-4913-9BFE-2873951E5ACF}" srcOrd="0" destOrd="0" presId="urn:microsoft.com/office/officeart/2005/8/layout/hierarchy6"/>
    <dgm:cxn modelId="{BD3B00E7-5A83-4B25-8840-3E73403A96B8}" type="presParOf" srcId="{BF624D3A-1654-4F7A-8862-EE61219B3430}" destId="{6ABBADBD-7A7D-4F5E-9E33-BF87F116C5BD}" srcOrd="0" destOrd="0" presId="urn:microsoft.com/office/officeart/2005/8/layout/hierarchy6"/>
    <dgm:cxn modelId="{E7B19E6F-1879-4AE9-A534-7E4E0683645F}" type="presParOf" srcId="{6ABBADBD-7A7D-4F5E-9E33-BF87F116C5BD}" destId="{551410B3-7642-452C-81F7-5FE0F25C442A}" srcOrd="0" destOrd="0" presId="urn:microsoft.com/office/officeart/2005/8/layout/hierarchy6"/>
    <dgm:cxn modelId="{75D6B38E-7D3A-4290-BDD1-01E5BCD171EB}" type="presParOf" srcId="{551410B3-7642-452C-81F7-5FE0F25C442A}" destId="{9694DC34-44FA-4C4A-9139-F7351F02B8FE}" srcOrd="0" destOrd="0" presId="urn:microsoft.com/office/officeart/2005/8/layout/hierarchy6"/>
    <dgm:cxn modelId="{FA940835-6A66-4C0B-AE57-558D584FA522}" type="presParOf" srcId="{9694DC34-44FA-4C4A-9139-F7351F02B8FE}" destId="{787DA92E-9BC3-4EE2-8CEF-99FB70C76E52}" srcOrd="0" destOrd="0" presId="urn:microsoft.com/office/officeart/2005/8/layout/hierarchy6"/>
    <dgm:cxn modelId="{33365EEE-A333-4FEA-85EF-05340EE1383B}" type="presParOf" srcId="{9694DC34-44FA-4C4A-9139-F7351F02B8FE}" destId="{B6FC0C6A-5C9A-4B2C-AD25-95B8FC823146}" srcOrd="1" destOrd="0" presId="urn:microsoft.com/office/officeart/2005/8/layout/hierarchy6"/>
    <dgm:cxn modelId="{16E391DD-5C55-4C8E-97A2-B9121C452910}" type="presParOf" srcId="{B6FC0C6A-5C9A-4B2C-AD25-95B8FC823146}" destId="{0D5B0913-A451-47B0-AD16-7332F1142CFD}" srcOrd="0" destOrd="0" presId="urn:microsoft.com/office/officeart/2005/8/layout/hierarchy6"/>
    <dgm:cxn modelId="{DD3CE618-F24F-4391-8BA1-FC3C5CBB1207}" type="presParOf" srcId="{B6FC0C6A-5C9A-4B2C-AD25-95B8FC823146}" destId="{AEAD597F-7610-4DAA-97BA-D67409BFA997}" srcOrd="1" destOrd="0" presId="urn:microsoft.com/office/officeart/2005/8/layout/hierarchy6"/>
    <dgm:cxn modelId="{5E6D67CF-2D89-444D-B098-C5010D492F6F}" type="presParOf" srcId="{AEAD597F-7610-4DAA-97BA-D67409BFA997}" destId="{71BF2C04-8DD5-4913-9BFE-2873951E5ACF}" srcOrd="0" destOrd="0" presId="urn:microsoft.com/office/officeart/2005/8/layout/hierarchy6"/>
    <dgm:cxn modelId="{B4F5CD53-E09B-4F9A-909D-22E5C8509B87}" type="presParOf" srcId="{AEAD597F-7610-4DAA-97BA-D67409BFA997}" destId="{91F4E962-DD51-43C4-81DB-E5E11EE2B2B3}" srcOrd="1" destOrd="0" presId="urn:microsoft.com/office/officeart/2005/8/layout/hierarchy6"/>
    <dgm:cxn modelId="{2FB1A529-1621-4F7C-8306-90964660720A}" type="presParOf" srcId="{B6FC0C6A-5C9A-4B2C-AD25-95B8FC823146}" destId="{54F7537A-F5C9-4EB1-B3ED-A173A89F50DD}" srcOrd="2" destOrd="0" presId="urn:microsoft.com/office/officeart/2005/8/layout/hierarchy6"/>
    <dgm:cxn modelId="{78A0C40B-AED0-4C05-A8AA-C24C33B8A9E8}" type="presParOf" srcId="{B6FC0C6A-5C9A-4B2C-AD25-95B8FC823146}" destId="{40FCD70A-9E24-46B5-AE11-C8E860C19483}" srcOrd="3" destOrd="0" presId="urn:microsoft.com/office/officeart/2005/8/layout/hierarchy6"/>
    <dgm:cxn modelId="{18513D2D-9A25-4937-8A41-C60C35504FE4}" type="presParOf" srcId="{40FCD70A-9E24-46B5-AE11-C8E860C19483}" destId="{916E0FAA-F683-4BB3-AD62-CB481686BF8C}" srcOrd="0" destOrd="0" presId="urn:microsoft.com/office/officeart/2005/8/layout/hierarchy6"/>
    <dgm:cxn modelId="{09D795E1-1858-4274-B406-E006C30DF326}" type="presParOf" srcId="{40FCD70A-9E24-46B5-AE11-C8E860C19483}" destId="{75491933-D804-46E2-8C7E-DADDA7681A72}" srcOrd="1" destOrd="0" presId="urn:microsoft.com/office/officeart/2005/8/layout/hierarchy6"/>
    <dgm:cxn modelId="{9323546C-8FF4-44A1-8A02-46550A3EB67C}" type="presParOf" srcId="{B6FC0C6A-5C9A-4B2C-AD25-95B8FC823146}" destId="{486BD69D-DB76-4348-857C-85BA943C0BFD}" srcOrd="4" destOrd="0" presId="urn:microsoft.com/office/officeart/2005/8/layout/hierarchy6"/>
    <dgm:cxn modelId="{AC4D41BB-8EDB-45E1-923D-08AE86EAEDA6}" type="presParOf" srcId="{B6FC0C6A-5C9A-4B2C-AD25-95B8FC823146}" destId="{4078C0C4-D4A2-401C-BE25-D026130FCFFB}" srcOrd="5" destOrd="0" presId="urn:microsoft.com/office/officeart/2005/8/layout/hierarchy6"/>
    <dgm:cxn modelId="{C9B6AD02-3000-4BDC-B425-37F7740BF6A0}" type="presParOf" srcId="{4078C0C4-D4A2-401C-BE25-D026130FCFFB}" destId="{F9C27165-7AA1-4745-BC50-A0C5CBC58BFD}" srcOrd="0" destOrd="0" presId="urn:microsoft.com/office/officeart/2005/8/layout/hierarchy6"/>
    <dgm:cxn modelId="{3C46FD98-9A16-4A37-8D4A-F9C4283EC77D}" type="presParOf" srcId="{4078C0C4-D4A2-401C-BE25-D026130FCFFB}" destId="{C0081C00-B929-4FAB-9BA9-B247C0684CA3}" srcOrd="1" destOrd="0" presId="urn:microsoft.com/office/officeart/2005/8/layout/hierarchy6"/>
    <dgm:cxn modelId="{39B6DB6D-A068-41DE-B869-0E5789B9B1E1}" type="presParOf" srcId="{B6FC0C6A-5C9A-4B2C-AD25-95B8FC823146}" destId="{4E30E52B-995F-408E-BDFE-006C4A2B45D3}" srcOrd="6" destOrd="0" presId="urn:microsoft.com/office/officeart/2005/8/layout/hierarchy6"/>
    <dgm:cxn modelId="{B82B8F43-F7C1-4A37-B05E-C47244780A88}" type="presParOf" srcId="{B6FC0C6A-5C9A-4B2C-AD25-95B8FC823146}" destId="{51BEE3C7-215C-4065-8DEA-8C9FA64D479E}" srcOrd="7" destOrd="0" presId="urn:microsoft.com/office/officeart/2005/8/layout/hierarchy6"/>
    <dgm:cxn modelId="{ADDA4D08-01D3-4CBC-AFC3-6C7ECF88325B}" type="presParOf" srcId="{51BEE3C7-215C-4065-8DEA-8C9FA64D479E}" destId="{E762BC71-82E7-431C-A6B8-BFF850F234FA}" srcOrd="0" destOrd="0" presId="urn:microsoft.com/office/officeart/2005/8/layout/hierarchy6"/>
    <dgm:cxn modelId="{AE7414E1-12F1-4CDA-B23D-819F7221EEA9}" type="presParOf" srcId="{51BEE3C7-215C-4065-8DEA-8C9FA64D479E}" destId="{A0739D40-9D73-4DAB-BB7F-342CAFD85327}" srcOrd="1" destOrd="0" presId="urn:microsoft.com/office/officeart/2005/8/layout/hierarchy6"/>
    <dgm:cxn modelId="{35F6E8B1-E9FD-4EE4-9697-AFBDA98E6AB0}" type="presParOf" srcId="{B6FC0C6A-5C9A-4B2C-AD25-95B8FC823146}" destId="{8423AA3A-46D4-437B-814E-6CDF67F8AFDB}" srcOrd="8" destOrd="0" presId="urn:microsoft.com/office/officeart/2005/8/layout/hierarchy6"/>
    <dgm:cxn modelId="{DB86ABAB-2CE3-4A46-90DF-2410DAE124B4}" type="presParOf" srcId="{B6FC0C6A-5C9A-4B2C-AD25-95B8FC823146}" destId="{2D24F82F-BEAA-4A14-BBBC-7E82FE5715DD}" srcOrd="9" destOrd="0" presId="urn:microsoft.com/office/officeart/2005/8/layout/hierarchy6"/>
    <dgm:cxn modelId="{536CA3BE-0031-4061-A613-200C3A192055}" type="presParOf" srcId="{2D24F82F-BEAA-4A14-BBBC-7E82FE5715DD}" destId="{E8A2AB61-9BDB-4A8C-BE84-C48EB33F8558}" srcOrd="0" destOrd="0" presId="urn:microsoft.com/office/officeart/2005/8/layout/hierarchy6"/>
    <dgm:cxn modelId="{7ECB5B10-4ECD-44BA-98AB-F5826D5D340F}" type="presParOf" srcId="{2D24F82F-BEAA-4A14-BBBC-7E82FE5715DD}" destId="{4A294B10-E0F6-40F5-A768-BB44EEC36F0B}" srcOrd="1" destOrd="0" presId="urn:microsoft.com/office/officeart/2005/8/layout/hierarchy6"/>
    <dgm:cxn modelId="{181E3E6F-D107-4FC3-A5DC-55C968EB6FC1}" type="presParOf" srcId="{BF624D3A-1654-4F7A-8862-EE61219B3430}" destId="{6892A99D-71D6-4069-A7CA-F9EFA755F2DD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021766F-AEAE-43FB-85F0-1BC0668834AD}" type="doc">
      <dgm:prSet loTypeId="urn:microsoft.com/office/officeart/2008/layout/VerticalCircleList" loCatId="list" qsTypeId="urn:microsoft.com/office/officeart/2005/8/quickstyle/3d2" qsCatId="3D" csTypeId="urn:microsoft.com/office/officeart/2005/8/colors/colorful3" csCatId="colorful" phldr="1"/>
      <dgm:spPr/>
      <dgm:t>
        <a:bodyPr/>
        <a:lstStyle/>
        <a:p>
          <a:endParaRPr lang="zh-CN" altLang="en-US"/>
        </a:p>
      </dgm:t>
    </dgm:pt>
    <dgm:pt modelId="{FFC30811-3108-4168-98CE-4BD38A4FF335}">
      <dgm:prSet phldrT="[文本]"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r>
            <a:rPr lang="zh-CN" altLang="en-US" b="1" cap="none" spc="50" dirty="0" smtClean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rPr>
            <a:t>解决方案</a:t>
          </a:r>
          <a:endParaRPr lang="zh-CN" altLang="en-US" b="1" cap="none" spc="50" dirty="0">
            <a:ln w="11430"/>
            <a:solidFill>
              <a:srgbClr val="003F56"/>
            </a:soli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622AA021-14B4-474B-B4A0-3C1380D40F68}" type="parTrans" cxnId="{39821BAE-34BE-4057-B65C-F45CACE72DBE}">
      <dgm:prSet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endParaRPr lang="zh-CN" altLang="en-US" b="1" cap="none" spc="50">
            <a:ln w="11430"/>
            <a:solidFill>
              <a:srgbClr val="003F56"/>
            </a:soli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C24F76D3-9331-405B-AA01-D9851E6BE755}" type="sibTrans" cxnId="{39821BAE-34BE-4057-B65C-F45CACE72DBE}">
      <dgm:prSet/>
      <dgm:spPr/>
      <dgm:t>
        <a:bodyPr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endParaRPr lang="zh-CN" altLang="en-US" b="1" cap="none" spc="50">
            <a:ln w="11430"/>
            <a:solidFill>
              <a:srgbClr val="003F56"/>
            </a:soli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gm:t>
    </dgm:pt>
    <dgm:pt modelId="{50E8D243-FD30-49AB-8793-C28C295468A6}" type="pres">
      <dgm:prSet presAssocID="{7021766F-AEAE-43FB-85F0-1BC0668834AD}" presName="Name0" presStyleCnt="0">
        <dgm:presLayoutVars>
          <dgm:dir/>
        </dgm:presLayoutVars>
      </dgm:prSet>
      <dgm:spPr/>
      <dgm:t>
        <a:bodyPr/>
        <a:lstStyle/>
        <a:p>
          <a:endParaRPr lang="zh-CN" altLang="en-US"/>
        </a:p>
      </dgm:t>
    </dgm:pt>
    <dgm:pt modelId="{F15858E2-2322-49C8-A2D8-1B6F4DBCCECE}" type="pres">
      <dgm:prSet presAssocID="{FFC30811-3108-4168-98CE-4BD38A4FF335}" presName="noChildren" presStyleCnt="0"/>
      <dgm:spPr/>
    </dgm:pt>
    <dgm:pt modelId="{CCE463C1-4FE8-424F-9266-A77415EA13E7}" type="pres">
      <dgm:prSet presAssocID="{FFC30811-3108-4168-98CE-4BD38A4FF335}" presName="gap" presStyleCnt="0"/>
      <dgm:spPr/>
    </dgm:pt>
    <dgm:pt modelId="{B29F93F9-314E-4EFD-93DB-90B50E8A5DC0}" type="pres">
      <dgm:prSet presAssocID="{FFC30811-3108-4168-98CE-4BD38A4FF335}" presName="medCircle2" presStyleLbl="vennNode1" presStyleIdx="0" presStyleCnt="1"/>
      <dgm:spPr/>
    </dgm:pt>
    <dgm:pt modelId="{E586EFAF-DA53-476D-A75E-8B1FBE0CFA11}" type="pres">
      <dgm:prSet presAssocID="{FFC30811-3108-4168-98CE-4BD38A4FF335}" presName="txLvlOnly1" presStyleLbl="revTx" presStyleIdx="0" presStyleCnt="1"/>
      <dgm:spPr/>
      <dgm:t>
        <a:bodyPr/>
        <a:lstStyle/>
        <a:p>
          <a:endParaRPr lang="zh-CN" altLang="en-US"/>
        </a:p>
      </dgm:t>
    </dgm:pt>
  </dgm:ptLst>
  <dgm:cxnLst>
    <dgm:cxn modelId="{E1102AD6-7245-4F5C-B1C2-56DDD7D25547}" type="presOf" srcId="{7021766F-AEAE-43FB-85F0-1BC0668834AD}" destId="{50E8D243-FD30-49AB-8793-C28C295468A6}" srcOrd="0" destOrd="0" presId="urn:microsoft.com/office/officeart/2008/layout/VerticalCircleList"/>
    <dgm:cxn modelId="{23764541-F067-4850-8975-2CD0DFF5AA97}" type="presOf" srcId="{FFC30811-3108-4168-98CE-4BD38A4FF335}" destId="{E586EFAF-DA53-476D-A75E-8B1FBE0CFA11}" srcOrd="0" destOrd="0" presId="urn:microsoft.com/office/officeart/2008/layout/VerticalCircleList"/>
    <dgm:cxn modelId="{39821BAE-34BE-4057-B65C-F45CACE72DBE}" srcId="{7021766F-AEAE-43FB-85F0-1BC0668834AD}" destId="{FFC30811-3108-4168-98CE-4BD38A4FF335}" srcOrd="0" destOrd="0" parTransId="{622AA021-14B4-474B-B4A0-3C1380D40F68}" sibTransId="{C24F76D3-9331-405B-AA01-D9851E6BE755}"/>
    <dgm:cxn modelId="{0E1C626C-DF69-4C04-8FAB-F5AC2BE4A070}" type="presParOf" srcId="{50E8D243-FD30-49AB-8793-C28C295468A6}" destId="{F15858E2-2322-49C8-A2D8-1B6F4DBCCECE}" srcOrd="0" destOrd="0" presId="urn:microsoft.com/office/officeart/2008/layout/VerticalCircleList"/>
    <dgm:cxn modelId="{C52A000B-1D78-451B-8AA5-B4501037280E}" type="presParOf" srcId="{F15858E2-2322-49C8-A2D8-1B6F4DBCCECE}" destId="{CCE463C1-4FE8-424F-9266-A77415EA13E7}" srcOrd="0" destOrd="0" presId="urn:microsoft.com/office/officeart/2008/layout/VerticalCircleList"/>
    <dgm:cxn modelId="{A603DBD7-62AB-4547-905D-2BB03C4C6650}" type="presParOf" srcId="{F15858E2-2322-49C8-A2D8-1B6F4DBCCECE}" destId="{B29F93F9-314E-4EFD-93DB-90B50E8A5DC0}" srcOrd="1" destOrd="0" presId="urn:microsoft.com/office/officeart/2008/layout/VerticalCircleList"/>
    <dgm:cxn modelId="{7C3D9FAA-7E8C-4467-8147-1AD542F5E9BE}" type="presParOf" srcId="{F15858E2-2322-49C8-A2D8-1B6F4DBCCECE}" destId="{E586EFAF-DA53-476D-A75E-8B1FBE0CFA11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7021766F-AEAE-43FB-85F0-1BC0668834AD}" type="doc">
      <dgm:prSet loTypeId="urn:microsoft.com/office/officeart/2005/8/layout/hList9" loCatId="list" qsTypeId="urn:microsoft.com/office/officeart/2005/8/quickstyle/3d2" qsCatId="3D" csTypeId="urn:microsoft.com/office/officeart/2005/8/colors/colorful3" csCatId="colorful" phldr="1"/>
      <dgm:spPr/>
      <dgm:t>
        <a:bodyPr/>
        <a:lstStyle/>
        <a:p>
          <a:endParaRPr lang="zh-CN" altLang="en-US"/>
        </a:p>
      </dgm:t>
    </dgm:pt>
    <dgm:pt modelId="{FFC30811-3108-4168-98CE-4BD38A4FF335}">
      <dgm:prSet phldrT="[文本]"/>
      <dgm:spPr/>
      <dgm:t>
        <a:bodyPr/>
        <a:lstStyle/>
        <a:p>
          <a:r>
            <a:rPr lang="zh-CN" altLang="en-US" dirty="0" smtClean="0"/>
            <a:t>解决方案</a:t>
          </a:r>
          <a:endParaRPr lang="zh-CN" altLang="en-US" dirty="0"/>
        </a:p>
      </dgm:t>
    </dgm:pt>
    <dgm:pt modelId="{622AA021-14B4-474B-B4A0-3C1380D40F68}" type="parTrans" cxnId="{39821BAE-34BE-4057-B65C-F45CACE72DBE}">
      <dgm:prSet/>
      <dgm:spPr/>
      <dgm:t>
        <a:bodyPr/>
        <a:lstStyle/>
        <a:p>
          <a:endParaRPr lang="zh-CN" altLang="en-US"/>
        </a:p>
      </dgm:t>
    </dgm:pt>
    <dgm:pt modelId="{C24F76D3-9331-405B-AA01-D9851E6BE755}" type="sibTrans" cxnId="{39821BAE-34BE-4057-B65C-F45CACE72DBE}">
      <dgm:prSet/>
      <dgm:spPr/>
      <dgm:t>
        <a:bodyPr/>
        <a:lstStyle/>
        <a:p>
          <a:endParaRPr lang="zh-CN" altLang="en-US"/>
        </a:p>
      </dgm:t>
    </dgm:pt>
    <dgm:pt modelId="{325025A2-130D-4718-AA43-6CFE71A084BC}">
      <dgm:prSet phldrT="[文本]"/>
      <dgm:spPr/>
      <dgm:t>
        <a:bodyPr/>
        <a:lstStyle/>
        <a:p>
          <a:pPr algn="ctr"/>
          <a:r>
            <a:rPr lang="zh-CN" altLang="en-US" dirty="0" smtClean="0"/>
            <a:t>规范</a:t>
          </a:r>
          <a:endParaRPr lang="zh-CN" altLang="en-US" dirty="0"/>
        </a:p>
      </dgm:t>
    </dgm:pt>
    <dgm:pt modelId="{1AADEF39-C075-4011-B740-B1EA802F8256}" type="parTrans" cxnId="{60B417C6-5B2E-4FDA-B883-C0622C219DF3}">
      <dgm:prSet/>
      <dgm:spPr/>
      <dgm:t>
        <a:bodyPr/>
        <a:lstStyle/>
        <a:p>
          <a:endParaRPr lang="zh-CN" altLang="en-US"/>
        </a:p>
      </dgm:t>
    </dgm:pt>
    <dgm:pt modelId="{A72050DF-9183-414B-853B-4EFEDA53E096}" type="sibTrans" cxnId="{60B417C6-5B2E-4FDA-B883-C0622C219DF3}">
      <dgm:prSet/>
      <dgm:spPr/>
      <dgm:t>
        <a:bodyPr/>
        <a:lstStyle/>
        <a:p>
          <a:endParaRPr lang="zh-CN" altLang="en-US"/>
        </a:p>
      </dgm:t>
    </dgm:pt>
    <dgm:pt modelId="{4D2D473D-8945-49E9-A085-C492C09F133A}" type="pres">
      <dgm:prSet presAssocID="{7021766F-AEAE-43FB-85F0-1BC0668834AD}" presName="list" presStyleCnt="0">
        <dgm:presLayoutVars>
          <dgm:dir/>
          <dgm:animLvl val="lvl"/>
        </dgm:presLayoutVars>
      </dgm:prSet>
      <dgm:spPr/>
      <dgm:t>
        <a:bodyPr/>
        <a:lstStyle/>
        <a:p>
          <a:endParaRPr lang="zh-CN" altLang="en-US"/>
        </a:p>
      </dgm:t>
    </dgm:pt>
    <dgm:pt modelId="{5E0DE069-372A-493F-9DCE-02ECBE556CD8}" type="pres">
      <dgm:prSet presAssocID="{FFC30811-3108-4168-98CE-4BD38A4FF335}" presName="posSpace" presStyleCnt="0"/>
      <dgm:spPr/>
    </dgm:pt>
    <dgm:pt modelId="{99FC2476-1CAA-4399-94BA-39162C0D9B59}" type="pres">
      <dgm:prSet presAssocID="{FFC30811-3108-4168-98CE-4BD38A4FF335}" presName="vertFlow" presStyleCnt="0"/>
      <dgm:spPr/>
    </dgm:pt>
    <dgm:pt modelId="{F32D7131-CAF2-4170-80D6-EBE7A617D6AE}" type="pres">
      <dgm:prSet presAssocID="{FFC30811-3108-4168-98CE-4BD38A4FF335}" presName="topSpace" presStyleCnt="0"/>
      <dgm:spPr/>
    </dgm:pt>
    <dgm:pt modelId="{FFAD51FE-E50D-45DA-914E-EBF639D3CFDE}" type="pres">
      <dgm:prSet presAssocID="{FFC30811-3108-4168-98CE-4BD38A4FF335}" presName="firstComp" presStyleCnt="0"/>
      <dgm:spPr/>
    </dgm:pt>
    <dgm:pt modelId="{F50D46D9-5C57-46D2-8025-B74CE606EE13}" type="pres">
      <dgm:prSet presAssocID="{FFC30811-3108-4168-98CE-4BD38A4FF335}" presName="firstChild" presStyleLbl="bgAccFollowNode1" presStyleIdx="0" presStyleCnt="1" custScaleX="113735"/>
      <dgm:spPr/>
      <dgm:t>
        <a:bodyPr/>
        <a:lstStyle/>
        <a:p>
          <a:endParaRPr lang="zh-CN" altLang="en-US"/>
        </a:p>
      </dgm:t>
    </dgm:pt>
    <dgm:pt modelId="{9463225C-594C-4FAE-BA52-1D5D9933E23B}" type="pres">
      <dgm:prSet presAssocID="{FFC30811-3108-4168-98CE-4BD38A4FF335}" presName="firstChildTx" presStyleLbl="bg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A44BD13-8D75-4610-A219-D09CA166C236}" type="pres">
      <dgm:prSet presAssocID="{FFC30811-3108-4168-98CE-4BD38A4FF335}" presName="negSpace" presStyleCnt="0"/>
      <dgm:spPr/>
    </dgm:pt>
    <dgm:pt modelId="{FAA27CC1-913E-46FA-8627-981FC9914539}" type="pres">
      <dgm:prSet presAssocID="{FFC30811-3108-4168-98CE-4BD38A4FF335}" presName="circle" presStyleLbl="node1" presStyleIdx="0" presStyleCnt="1" custLinFactNeighborX="-15983" custLinFactNeighborY="-832"/>
      <dgm:spPr/>
      <dgm:t>
        <a:bodyPr/>
        <a:lstStyle/>
        <a:p>
          <a:endParaRPr lang="zh-CN" altLang="en-US"/>
        </a:p>
      </dgm:t>
    </dgm:pt>
  </dgm:ptLst>
  <dgm:cxnLst>
    <dgm:cxn modelId="{5D511595-A490-450B-A3A1-A20008BB462D}" type="presOf" srcId="{325025A2-130D-4718-AA43-6CFE71A084BC}" destId="{F50D46D9-5C57-46D2-8025-B74CE606EE13}" srcOrd="0" destOrd="0" presId="urn:microsoft.com/office/officeart/2005/8/layout/hList9"/>
    <dgm:cxn modelId="{2388D925-CDE0-412D-B36F-48E1455BCB24}" type="presOf" srcId="{FFC30811-3108-4168-98CE-4BD38A4FF335}" destId="{FAA27CC1-913E-46FA-8627-981FC9914539}" srcOrd="0" destOrd="0" presId="urn:microsoft.com/office/officeart/2005/8/layout/hList9"/>
    <dgm:cxn modelId="{3D9B8DB3-FB68-4301-BCF3-8B4F963B32AD}" type="presOf" srcId="{325025A2-130D-4718-AA43-6CFE71A084BC}" destId="{9463225C-594C-4FAE-BA52-1D5D9933E23B}" srcOrd="1" destOrd="0" presId="urn:microsoft.com/office/officeart/2005/8/layout/hList9"/>
    <dgm:cxn modelId="{05FA2993-ACA4-4C1F-92CB-3936310B54FF}" type="presOf" srcId="{7021766F-AEAE-43FB-85F0-1BC0668834AD}" destId="{4D2D473D-8945-49E9-A085-C492C09F133A}" srcOrd="0" destOrd="0" presId="urn:microsoft.com/office/officeart/2005/8/layout/hList9"/>
    <dgm:cxn modelId="{60B417C6-5B2E-4FDA-B883-C0622C219DF3}" srcId="{FFC30811-3108-4168-98CE-4BD38A4FF335}" destId="{325025A2-130D-4718-AA43-6CFE71A084BC}" srcOrd="0" destOrd="0" parTransId="{1AADEF39-C075-4011-B740-B1EA802F8256}" sibTransId="{A72050DF-9183-414B-853B-4EFEDA53E096}"/>
    <dgm:cxn modelId="{39821BAE-34BE-4057-B65C-F45CACE72DBE}" srcId="{7021766F-AEAE-43FB-85F0-1BC0668834AD}" destId="{FFC30811-3108-4168-98CE-4BD38A4FF335}" srcOrd="0" destOrd="0" parTransId="{622AA021-14B4-474B-B4A0-3C1380D40F68}" sibTransId="{C24F76D3-9331-405B-AA01-D9851E6BE755}"/>
    <dgm:cxn modelId="{44CC9D1A-AF37-4CD8-83BC-4ED1258C97D3}" type="presParOf" srcId="{4D2D473D-8945-49E9-A085-C492C09F133A}" destId="{5E0DE069-372A-493F-9DCE-02ECBE556CD8}" srcOrd="0" destOrd="0" presId="urn:microsoft.com/office/officeart/2005/8/layout/hList9"/>
    <dgm:cxn modelId="{71ED07A6-9E7E-45C5-B23F-8737314A86A6}" type="presParOf" srcId="{4D2D473D-8945-49E9-A085-C492C09F133A}" destId="{99FC2476-1CAA-4399-94BA-39162C0D9B59}" srcOrd="1" destOrd="0" presId="urn:microsoft.com/office/officeart/2005/8/layout/hList9"/>
    <dgm:cxn modelId="{488779C1-68A5-4E98-98F8-26422B081E70}" type="presParOf" srcId="{99FC2476-1CAA-4399-94BA-39162C0D9B59}" destId="{F32D7131-CAF2-4170-80D6-EBE7A617D6AE}" srcOrd="0" destOrd="0" presId="urn:microsoft.com/office/officeart/2005/8/layout/hList9"/>
    <dgm:cxn modelId="{BC1121C1-26F2-4F77-B135-8E1DF2597655}" type="presParOf" srcId="{99FC2476-1CAA-4399-94BA-39162C0D9B59}" destId="{FFAD51FE-E50D-45DA-914E-EBF639D3CFDE}" srcOrd="1" destOrd="0" presId="urn:microsoft.com/office/officeart/2005/8/layout/hList9"/>
    <dgm:cxn modelId="{DF386DD7-4B45-46A5-8108-355EB41011E7}" type="presParOf" srcId="{FFAD51FE-E50D-45DA-914E-EBF639D3CFDE}" destId="{F50D46D9-5C57-46D2-8025-B74CE606EE13}" srcOrd="0" destOrd="0" presId="urn:microsoft.com/office/officeart/2005/8/layout/hList9"/>
    <dgm:cxn modelId="{4E3EBB54-B7B5-4153-BEE1-3CC99930343B}" type="presParOf" srcId="{FFAD51FE-E50D-45DA-914E-EBF639D3CFDE}" destId="{9463225C-594C-4FAE-BA52-1D5D9933E23B}" srcOrd="1" destOrd="0" presId="urn:microsoft.com/office/officeart/2005/8/layout/hList9"/>
    <dgm:cxn modelId="{E9CFEC1F-3AC5-42EE-A654-388F6ADCD977}" type="presParOf" srcId="{4D2D473D-8945-49E9-A085-C492C09F133A}" destId="{8A44BD13-8D75-4610-A219-D09CA166C236}" srcOrd="2" destOrd="0" presId="urn:microsoft.com/office/officeart/2005/8/layout/hList9"/>
    <dgm:cxn modelId="{D8BC1432-36E3-4091-8285-E3B38A94CB99}" type="presParOf" srcId="{4D2D473D-8945-49E9-A085-C492C09F133A}" destId="{FAA27CC1-913E-46FA-8627-981FC9914539}" srcOrd="3" destOrd="0" presId="urn:microsoft.com/office/officeart/2005/8/layout/hList9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4A04471-1333-4891-B83F-810A73D424C5}" type="doc">
      <dgm:prSet loTypeId="urn:microsoft.com/office/officeart/2005/8/layout/list1" loCatId="list" qsTypeId="urn:microsoft.com/office/officeart/2005/8/quickstyle/3d3" qsCatId="3D" csTypeId="urn:microsoft.com/office/officeart/2005/8/colors/colorful2" csCatId="colorful" phldr="1"/>
      <dgm:spPr/>
      <dgm:t>
        <a:bodyPr/>
        <a:lstStyle/>
        <a:p>
          <a:endParaRPr lang="zh-CN" altLang="en-US"/>
        </a:p>
      </dgm:t>
    </dgm:pt>
    <dgm:pt modelId="{1F65EA5F-5DF3-4897-86FE-CCCCBFBDD89C}">
      <dgm:prSet phldrT="[文本]"/>
      <dgm:spPr/>
      <dgm:t>
        <a:bodyPr/>
        <a:lstStyle/>
        <a:p>
          <a:r>
            <a:rPr lang="zh-CN" altLang="en-US" dirty="0" smtClean="0"/>
            <a:t>列表</a:t>
          </a:r>
          <a:endParaRPr lang="zh-CN" altLang="en-US" dirty="0"/>
        </a:p>
      </dgm:t>
    </dgm:pt>
    <dgm:pt modelId="{2C4150B7-4CCA-4B06-91D1-1934F07AC9B2}" type="parTrans" cxnId="{5C6CE8CA-0442-46E9-BA2F-66F85FFEAE1E}">
      <dgm:prSet/>
      <dgm:spPr/>
      <dgm:t>
        <a:bodyPr/>
        <a:lstStyle/>
        <a:p>
          <a:endParaRPr lang="zh-CN" altLang="en-US"/>
        </a:p>
      </dgm:t>
    </dgm:pt>
    <dgm:pt modelId="{C376396B-4723-4520-9AEC-7E8C46927828}" type="sibTrans" cxnId="{5C6CE8CA-0442-46E9-BA2F-66F85FFEAE1E}">
      <dgm:prSet/>
      <dgm:spPr/>
      <dgm:t>
        <a:bodyPr/>
        <a:lstStyle/>
        <a:p>
          <a:endParaRPr lang="zh-CN" altLang="en-US"/>
        </a:p>
      </dgm:t>
    </dgm:pt>
    <dgm:pt modelId="{8833C209-1C16-497A-94C9-0682043D3B11}">
      <dgm:prSet phldrT="[文本]"/>
      <dgm:spPr/>
      <dgm:t>
        <a:bodyPr/>
        <a:lstStyle/>
        <a:p>
          <a:r>
            <a:rPr lang="zh-CN" altLang="en-US" dirty="0" smtClean="0"/>
            <a:t>卡片</a:t>
          </a:r>
          <a:endParaRPr lang="zh-CN" altLang="en-US" dirty="0"/>
        </a:p>
      </dgm:t>
    </dgm:pt>
    <dgm:pt modelId="{46DB264B-BA80-489A-AE49-8904BED51C4F}" type="parTrans" cxnId="{2EE3ED2E-D25B-4F5E-9E91-9DC0311EE31A}">
      <dgm:prSet/>
      <dgm:spPr/>
      <dgm:t>
        <a:bodyPr/>
        <a:lstStyle/>
        <a:p>
          <a:endParaRPr lang="zh-CN" altLang="en-US"/>
        </a:p>
      </dgm:t>
    </dgm:pt>
    <dgm:pt modelId="{72DB1802-690E-44F5-B035-2001E6F1D998}" type="sibTrans" cxnId="{2EE3ED2E-D25B-4F5E-9E91-9DC0311EE31A}">
      <dgm:prSet/>
      <dgm:spPr/>
      <dgm:t>
        <a:bodyPr/>
        <a:lstStyle/>
        <a:p>
          <a:endParaRPr lang="zh-CN" altLang="en-US"/>
        </a:p>
      </dgm:t>
    </dgm:pt>
    <dgm:pt modelId="{7C2328EA-775F-4CCD-A7E5-71A444FD2AE0}">
      <dgm:prSet phldrT="[文本]"/>
      <dgm:spPr/>
      <dgm:t>
        <a:bodyPr/>
        <a:lstStyle/>
        <a:p>
          <a:r>
            <a:rPr lang="zh-CN" altLang="en-US" dirty="0" smtClean="0"/>
            <a:t>扩展</a:t>
          </a:r>
          <a:endParaRPr lang="zh-CN" altLang="en-US" dirty="0"/>
        </a:p>
      </dgm:t>
    </dgm:pt>
    <dgm:pt modelId="{46AA330E-F5B3-445B-A096-E4C9FFEADC83}" type="parTrans" cxnId="{5670B2BC-ED1F-49E7-A218-23AB418EA4CC}">
      <dgm:prSet/>
      <dgm:spPr/>
      <dgm:t>
        <a:bodyPr/>
        <a:lstStyle/>
        <a:p>
          <a:endParaRPr lang="zh-CN" altLang="en-US"/>
        </a:p>
      </dgm:t>
    </dgm:pt>
    <dgm:pt modelId="{F41A2C9C-018F-4C86-805C-925F7EE528E9}" type="sibTrans" cxnId="{5670B2BC-ED1F-49E7-A218-23AB418EA4CC}">
      <dgm:prSet/>
      <dgm:spPr/>
      <dgm:t>
        <a:bodyPr/>
        <a:lstStyle/>
        <a:p>
          <a:endParaRPr lang="zh-CN" altLang="en-US"/>
        </a:p>
      </dgm:t>
    </dgm:pt>
    <dgm:pt modelId="{6663DD80-1CB3-42AE-AF4B-E50675EC7773}">
      <dgm:prSet phldrT="[文本]"/>
      <dgm:spPr/>
      <dgm:t>
        <a:bodyPr/>
        <a:lstStyle/>
        <a:p>
          <a:r>
            <a:rPr lang="zh-CN" altLang="en-US" dirty="0" smtClean="0"/>
            <a:t>针对单条记录的操作定位在行上</a:t>
          </a:r>
          <a:endParaRPr lang="zh-CN" altLang="en-US" dirty="0"/>
        </a:p>
      </dgm:t>
    </dgm:pt>
    <dgm:pt modelId="{89C3F06D-F567-40AF-AE91-49E167324DA4}" type="parTrans" cxnId="{F17112E5-0FC6-48C0-9532-9DE883D49BF8}">
      <dgm:prSet/>
      <dgm:spPr/>
      <dgm:t>
        <a:bodyPr/>
        <a:lstStyle/>
        <a:p>
          <a:endParaRPr lang="zh-CN" altLang="en-US"/>
        </a:p>
      </dgm:t>
    </dgm:pt>
    <dgm:pt modelId="{9B4B9383-5318-4E78-A3E4-191440C0A736}" type="sibTrans" cxnId="{F17112E5-0FC6-48C0-9532-9DE883D49BF8}">
      <dgm:prSet/>
      <dgm:spPr/>
      <dgm:t>
        <a:bodyPr/>
        <a:lstStyle/>
        <a:p>
          <a:endParaRPr lang="zh-CN" altLang="en-US"/>
        </a:p>
      </dgm:t>
    </dgm:pt>
    <dgm:pt modelId="{1E2265DE-53B6-4622-9747-984B21C95A24}">
      <dgm:prSet phldrT="[文本]"/>
      <dgm:spPr/>
      <dgm:t>
        <a:bodyPr/>
        <a:lstStyle/>
        <a:p>
          <a:r>
            <a:rPr lang="zh-CN" altLang="en-US" dirty="0" smtClean="0"/>
            <a:t>针对多条记录的操作定位在表上</a:t>
          </a:r>
          <a:endParaRPr lang="zh-CN" altLang="en-US" dirty="0"/>
        </a:p>
      </dgm:t>
    </dgm:pt>
    <dgm:pt modelId="{EE40F86F-44D8-4B1C-8E12-5D47C032FD97}" type="parTrans" cxnId="{4CA7DBF6-33C7-45DB-B2D8-055FEA4D5987}">
      <dgm:prSet/>
      <dgm:spPr/>
      <dgm:t>
        <a:bodyPr/>
        <a:lstStyle/>
        <a:p>
          <a:endParaRPr lang="zh-CN" altLang="en-US"/>
        </a:p>
      </dgm:t>
    </dgm:pt>
    <dgm:pt modelId="{CA157E1C-5411-4653-90EA-C8D99CA04E28}" type="sibTrans" cxnId="{4CA7DBF6-33C7-45DB-B2D8-055FEA4D5987}">
      <dgm:prSet/>
      <dgm:spPr/>
      <dgm:t>
        <a:bodyPr/>
        <a:lstStyle/>
        <a:p>
          <a:endParaRPr lang="zh-CN" altLang="en-US"/>
        </a:p>
      </dgm:t>
    </dgm:pt>
    <dgm:pt modelId="{B377A948-BF1C-4EFF-B96A-4B16BF2858EA}">
      <dgm:prSet phldrT="[文本]"/>
      <dgm:spPr/>
      <dgm:t>
        <a:bodyPr/>
        <a:lstStyle/>
        <a:p>
          <a:r>
            <a:rPr lang="zh-CN" altLang="en-US" dirty="0" smtClean="0"/>
            <a:t>添加页面</a:t>
          </a:r>
          <a:endParaRPr lang="zh-CN" altLang="en-US" dirty="0"/>
        </a:p>
      </dgm:t>
    </dgm:pt>
    <dgm:pt modelId="{F4766319-E886-4646-AD75-489196EAAF7E}" type="parTrans" cxnId="{A94E7B54-FCC7-4424-BCBF-582325C07CCE}">
      <dgm:prSet/>
      <dgm:spPr/>
      <dgm:t>
        <a:bodyPr/>
        <a:lstStyle/>
        <a:p>
          <a:endParaRPr lang="zh-CN" altLang="en-US"/>
        </a:p>
      </dgm:t>
    </dgm:pt>
    <dgm:pt modelId="{D8B2DAB8-2806-4932-9CB2-9EF3EDEB8A86}" type="sibTrans" cxnId="{A94E7B54-FCC7-4424-BCBF-582325C07CCE}">
      <dgm:prSet/>
      <dgm:spPr/>
      <dgm:t>
        <a:bodyPr/>
        <a:lstStyle/>
        <a:p>
          <a:endParaRPr lang="zh-CN" altLang="en-US"/>
        </a:p>
      </dgm:t>
    </dgm:pt>
    <dgm:pt modelId="{3C35C1B5-4A50-431E-9EEE-D88D86EB75B9}">
      <dgm:prSet phldrT="[文本]"/>
      <dgm:spPr/>
      <dgm:t>
        <a:bodyPr/>
        <a:lstStyle/>
        <a:p>
          <a:r>
            <a:rPr lang="zh-CN" altLang="en-US" dirty="0" smtClean="0"/>
            <a:t>修改页面</a:t>
          </a:r>
          <a:endParaRPr lang="zh-CN" altLang="en-US" dirty="0"/>
        </a:p>
      </dgm:t>
    </dgm:pt>
    <dgm:pt modelId="{531215A8-FC44-4080-ABD0-152D6C59405E}" type="parTrans" cxnId="{CB63A514-C897-4BCF-BB91-1EA2913113C4}">
      <dgm:prSet/>
      <dgm:spPr/>
      <dgm:t>
        <a:bodyPr/>
        <a:lstStyle/>
        <a:p>
          <a:endParaRPr lang="zh-CN" altLang="en-US"/>
        </a:p>
      </dgm:t>
    </dgm:pt>
    <dgm:pt modelId="{9ED23011-188E-42B3-BD03-A8C49000D10A}" type="sibTrans" cxnId="{CB63A514-C897-4BCF-BB91-1EA2913113C4}">
      <dgm:prSet/>
      <dgm:spPr/>
      <dgm:t>
        <a:bodyPr/>
        <a:lstStyle/>
        <a:p>
          <a:endParaRPr lang="zh-CN" altLang="en-US"/>
        </a:p>
      </dgm:t>
    </dgm:pt>
    <dgm:pt modelId="{219EA342-23B5-4A30-B375-3F6785DF512F}">
      <dgm:prSet phldrT="[文本]"/>
      <dgm:spPr/>
      <dgm:t>
        <a:bodyPr/>
        <a:lstStyle/>
        <a:p>
          <a:r>
            <a:rPr lang="zh-CN" altLang="en-US" dirty="0" smtClean="0"/>
            <a:t>查看页面</a:t>
          </a:r>
          <a:endParaRPr lang="zh-CN" altLang="en-US" dirty="0"/>
        </a:p>
      </dgm:t>
    </dgm:pt>
    <dgm:pt modelId="{6B897C24-087C-46D7-B4B2-A1EACF1D852C}" type="parTrans" cxnId="{1D2E9377-BD0D-48D6-86B7-67CFE4F915B1}">
      <dgm:prSet/>
      <dgm:spPr/>
      <dgm:t>
        <a:bodyPr/>
        <a:lstStyle/>
        <a:p>
          <a:endParaRPr lang="zh-CN" altLang="en-US"/>
        </a:p>
      </dgm:t>
    </dgm:pt>
    <dgm:pt modelId="{2A5C861A-0BF7-4DFA-84B3-D601D24BC880}" type="sibTrans" cxnId="{1D2E9377-BD0D-48D6-86B7-67CFE4F915B1}">
      <dgm:prSet/>
      <dgm:spPr/>
      <dgm:t>
        <a:bodyPr/>
        <a:lstStyle/>
        <a:p>
          <a:endParaRPr lang="zh-CN" altLang="en-US"/>
        </a:p>
      </dgm:t>
    </dgm:pt>
    <dgm:pt modelId="{B5947AB3-1FD9-4E92-8455-E5B5AB1E5F60}">
      <dgm:prSet phldrT="[文本]"/>
      <dgm:spPr/>
      <dgm:t>
        <a:bodyPr/>
        <a:lstStyle/>
        <a:p>
          <a:r>
            <a:rPr lang="zh-CN" altLang="en-US" dirty="0" smtClean="0"/>
            <a:t>统一的工具栏</a:t>
          </a:r>
          <a:endParaRPr lang="zh-CN" altLang="en-US" dirty="0"/>
        </a:p>
      </dgm:t>
    </dgm:pt>
    <dgm:pt modelId="{7E503A84-E636-489F-941E-7E711CDBE200}" type="parTrans" cxnId="{FDB95DF4-CE0B-4FF6-9E7E-997A8F79E115}">
      <dgm:prSet/>
      <dgm:spPr/>
      <dgm:t>
        <a:bodyPr/>
        <a:lstStyle/>
        <a:p>
          <a:endParaRPr lang="zh-CN" altLang="en-US"/>
        </a:p>
      </dgm:t>
    </dgm:pt>
    <dgm:pt modelId="{2D93E276-3EEF-4095-8821-1A0405D9C1A2}" type="sibTrans" cxnId="{FDB95DF4-CE0B-4FF6-9E7E-997A8F79E115}">
      <dgm:prSet/>
      <dgm:spPr/>
      <dgm:t>
        <a:bodyPr/>
        <a:lstStyle/>
        <a:p>
          <a:endParaRPr lang="zh-CN" altLang="en-US"/>
        </a:p>
      </dgm:t>
    </dgm:pt>
    <dgm:pt modelId="{623BCD7D-1397-4448-A387-A2EEDFCBBF3D}">
      <dgm:prSet phldrT="[文本]"/>
      <dgm:spPr/>
      <dgm:t>
        <a:bodyPr/>
        <a:lstStyle/>
        <a:p>
          <a:r>
            <a:rPr lang="zh-CN" altLang="en-US" dirty="0" smtClean="0"/>
            <a:t>单卡单表（查询列表）</a:t>
          </a:r>
          <a:endParaRPr lang="zh-CN" altLang="en-US" dirty="0"/>
        </a:p>
      </dgm:t>
    </dgm:pt>
    <dgm:pt modelId="{63122CBF-5004-4F33-AEC6-FF767F74E7A0}" type="parTrans" cxnId="{C9543C2D-8B1D-413C-A20E-4DF28C2D68BB}">
      <dgm:prSet/>
      <dgm:spPr/>
      <dgm:t>
        <a:bodyPr/>
        <a:lstStyle/>
        <a:p>
          <a:endParaRPr lang="zh-CN" altLang="en-US"/>
        </a:p>
      </dgm:t>
    </dgm:pt>
    <dgm:pt modelId="{F3CEA817-13E1-46A5-A45A-E650E31298E8}" type="sibTrans" cxnId="{C9543C2D-8B1D-413C-A20E-4DF28C2D68BB}">
      <dgm:prSet/>
      <dgm:spPr/>
      <dgm:t>
        <a:bodyPr/>
        <a:lstStyle/>
        <a:p>
          <a:endParaRPr lang="zh-CN" altLang="en-US"/>
        </a:p>
      </dgm:t>
    </dgm:pt>
    <dgm:pt modelId="{B0EA5004-DD70-4449-B6EC-6FD5F6606075}">
      <dgm:prSet phldrT="[文本]"/>
      <dgm:spPr/>
      <dgm:t>
        <a:bodyPr/>
        <a:lstStyle/>
        <a:p>
          <a:r>
            <a:rPr lang="zh-CN" altLang="en-US" dirty="0" smtClean="0"/>
            <a:t>单卡多表 （表连动）</a:t>
          </a:r>
          <a:endParaRPr lang="zh-CN" altLang="en-US" dirty="0"/>
        </a:p>
      </dgm:t>
    </dgm:pt>
    <dgm:pt modelId="{1C6E1353-7F61-46ED-98ED-F0F2C6DF3693}" type="parTrans" cxnId="{F6251AC3-6B83-4973-96BF-0D7A585E6A6F}">
      <dgm:prSet/>
      <dgm:spPr/>
      <dgm:t>
        <a:bodyPr/>
        <a:lstStyle/>
        <a:p>
          <a:endParaRPr lang="zh-CN" altLang="en-US"/>
        </a:p>
      </dgm:t>
    </dgm:pt>
    <dgm:pt modelId="{4AA04F8B-2FB1-411E-A8B2-17D12905A1A5}" type="sibTrans" cxnId="{F6251AC3-6B83-4973-96BF-0D7A585E6A6F}">
      <dgm:prSet/>
      <dgm:spPr/>
      <dgm:t>
        <a:bodyPr/>
        <a:lstStyle/>
        <a:p>
          <a:endParaRPr lang="zh-CN" altLang="en-US"/>
        </a:p>
      </dgm:t>
    </dgm:pt>
    <dgm:pt modelId="{7AE47BBB-A6FD-4C6D-BEBD-FDDAA6349524}">
      <dgm:prSet phldrT="[文本]"/>
      <dgm:spPr/>
      <dgm:t>
        <a:bodyPr/>
        <a:lstStyle/>
        <a:p>
          <a:r>
            <a:rPr lang="zh-CN" altLang="en-US" dirty="0" smtClean="0"/>
            <a:t>弹出单引用</a:t>
          </a:r>
          <a:endParaRPr lang="zh-CN" altLang="en-US" dirty="0"/>
        </a:p>
      </dgm:t>
    </dgm:pt>
    <dgm:pt modelId="{E3DBA6B2-C9FF-4329-92A2-6A8740FCCEE7}" type="parTrans" cxnId="{5A34F061-6F40-43AF-B228-22A72C1C48BF}">
      <dgm:prSet/>
      <dgm:spPr/>
      <dgm:t>
        <a:bodyPr/>
        <a:lstStyle/>
        <a:p>
          <a:endParaRPr lang="zh-CN" altLang="en-US"/>
        </a:p>
      </dgm:t>
    </dgm:pt>
    <dgm:pt modelId="{1D1D214D-D09E-4C72-862E-1987D5167AC7}" type="sibTrans" cxnId="{5A34F061-6F40-43AF-B228-22A72C1C48BF}">
      <dgm:prSet/>
      <dgm:spPr/>
      <dgm:t>
        <a:bodyPr/>
        <a:lstStyle/>
        <a:p>
          <a:endParaRPr lang="zh-CN" altLang="en-US"/>
        </a:p>
      </dgm:t>
    </dgm:pt>
    <dgm:pt modelId="{8E743C0B-0F92-4AC5-8443-4510BC63A249}">
      <dgm:prSet phldrT="[文本]"/>
      <dgm:spPr/>
      <dgm:t>
        <a:bodyPr/>
        <a:lstStyle/>
        <a:p>
          <a:r>
            <a:rPr lang="zh-CN" altLang="en-US" dirty="0" smtClean="0"/>
            <a:t>弹出多引用</a:t>
          </a:r>
          <a:endParaRPr lang="zh-CN" altLang="en-US" dirty="0"/>
        </a:p>
      </dgm:t>
    </dgm:pt>
    <dgm:pt modelId="{BA73A414-19D9-4FED-987E-5D80844FAE87}" type="parTrans" cxnId="{85E97BA1-99EE-4022-8A9D-A0D51EB62453}">
      <dgm:prSet/>
      <dgm:spPr/>
      <dgm:t>
        <a:bodyPr/>
        <a:lstStyle/>
        <a:p>
          <a:endParaRPr lang="zh-CN" altLang="en-US"/>
        </a:p>
      </dgm:t>
    </dgm:pt>
    <dgm:pt modelId="{5014B221-2A9C-4108-8B45-4B61EE0388FB}" type="sibTrans" cxnId="{85E97BA1-99EE-4022-8A9D-A0D51EB62453}">
      <dgm:prSet/>
      <dgm:spPr/>
      <dgm:t>
        <a:bodyPr/>
        <a:lstStyle/>
        <a:p>
          <a:endParaRPr lang="zh-CN" altLang="en-US"/>
        </a:p>
      </dgm:t>
    </dgm:pt>
    <dgm:pt modelId="{DC45685E-801A-4D48-BAE9-571E399BC1BC}">
      <dgm:prSet phldrT="[文本]"/>
      <dgm:spPr/>
      <dgm:t>
        <a:bodyPr/>
        <a:lstStyle/>
        <a:p>
          <a:r>
            <a:rPr lang="zh-CN" altLang="en-US" dirty="0" smtClean="0"/>
            <a:t>列表中的查询</a:t>
          </a:r>
          <a:endParaRPr lang="zh-CN" altLang="en-US" dirty="0"/>
        </a:p>
      </dgm:t>
    </dgm:pt>
    <dgm:pt modelId="{11468FE7-4ADE-40BC-9F35-03A75FABB844}" type="parTrans" cxnId="{9F5D29A8-88E6-4B26-895A-FE68EB067E0A}">
      <dgm:prSet/>
      <dgm:spPr/>
      <dgm:t>
        <a:bodyPr/>
        <a:lstStyle/>
        <a:p>
          <a:endParaRPr lang="zh-CN" altLang="en-US"/>
        </a:p>
      </dgm:t>
    </dgm:pt>
    <dgm:pt modelId="{C2407D95-D61A-4DDA-9117-D952EE7BF40C}" type="sibTrans" cxnId="{9F5D29A8-88E6-4B26-895A-FE68EB067E0A}">
      <dgm:prSet/>
      <dgm:spPr/>
      <dgm:t>
        <a:bodyPr/>
        <a:lstStyle/>
        <a:p>
          <a:endParaRPr lang="zh-CN" altLang="en-US"/>
        </a:p>
      </dgm:t>
    </dgm:pt>
    <dgm:pt modelId="{BD5572F4-A864-4E24-84AB-B3140ABB9746}" type="pres">
      <dgm:prSet presAssocID="{E4A04471-1333-4891-B83F-810A73D424C5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E3A2539A-BD9C-44CF-848A-199A7262E5EA}" type="pres">
      <dgm:prSet presAssocID="{1F65EA5F-5DF3-4897-86FE-CCCCBFBDD89C}" presName="parentLin" presStyleCnt="0"/>
      <dgm:spPr/>
    </dgm:pt>
    <dgm:pt modelId="{F547942D-DDD9-4BF9-B4D1-79529B02C406}" type="pres">
      <dgm:prSet presAssocID="{1F65EA5F-5DF3-4897-86FE-CCCCBFBDD89C}" presName="parentLeftMargin" presStyleLbl="node1" presStyleIdx="0" presStyleCnt="3"/>
      <dgm:spPr/>
      <dgm:t>
        <a:bodyPr/>
        <a:lstStyle/>
        <a:p>
          <a:endParaRPr lang="zh-CN" altLang="en-US"/>
        </a:p>
      </dgm:t>
    </dgm:pt>
    <dgm:pt modelId="{120D070E-4603-4176-947D-785977953CF6}" type="pres">
      <dgm:prSet presAssocID="{1F65EA5F-5DF3-4897-86FE-CCCCBFBDD89C}" presName="parentText" presStyleLbl="node1" presStyleIdx="0" presStyleCnt="3" custScaleX="71946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FDEBC37-075E-45C2-B798-50D58FA847DF}" type="pres">
      <dgm:prSet presAssocID="{1F65EA5F-5DF3-4897-86FE-CCCCBFBDD89C}" presName="negativeSpace" presStyleCnt="0"/>
      <dgm:spPr/>
    </dgm:pt>
    <dgm:pt modelId="{3BF9914F-98B7-45DA-80C4-EE3FF874AA01}" type="pres">
      <dgm:prSet presAssocID="{1F65EA5F-5DF3-4897-86FE-CCCCBFBDD89C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4F4373A-EFE2-45E7-93AE-C1E830D96FFD}" type="pres">
      <dgm:prSet presAssocID="{C376396B-4723-4520-9AEC-7E8C46927828}" presName="spaceBetweenRectangles" presStyleCnt="0"/>
      <dgm:spPr/>
    </dgm:pt>
    <dgm:pt modelId="{A4A5513D-C301-4ADE-A5C3-6F0DF49B0D00}" type="pres">
      <dgm:prSet presAssocID="{8833C209-1C16-497A-94C9-0682043D3B11}" presName="parentLin" presStyleCnt="0"/>
      <dgm:spPr/>
    </dgm:pt>
    <dgm:pt modelId="{7E58BA1E-4AC3-44ED-81F3-D8B56E13767F}" type="pres">
      <dgm:prSet presAssocID="{8833C209-1C16-497A-94C9-0682043D3B11}" presName="parentLeftMargin" presStyleLbl="node1" presStyleIdx="0" presStyleCnt="3"/>
      <dgm:spPr/>
      <dgm:t>
        <a:bodyPr/>
        <a:lstStyle/>
        <a:p>
          <a:endParaRPr lang="zh-CN" altLang="en-US"/>
        </a:p>
      </dgm:t>
    </dgm:pt>
    <dgm:pt modelId="{19F60E7C-7307-40F8-9FD6-6CCA911FEF66}" type="pres">
      <dgm:prSet presAssocID="{8833C209-1C16-497A-94C9-0682043D3B11}" presName="parentText" presStyleLbl="node1" presStyleIdx="1" presStyleCnt="3" custScaleX="71747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12FB36C-4E2A-47A7-A354-E70C82B7169F}" type="pres">
      <dgm:prSet presAssocID="{8833C209-1C16-497A-94C9-0682043D3B11}" presName="negativeSpace" presStyleCnt="0"/>
      <dgm:spPr/>
    </dgm:pt>
    <dgm:pt modelId="{BE2B271B-9707-45C4-AF2E-C63B2E34221B}" type="pres">
      <dgm:prSet presAssocID="{8833C209-1C16-497A-94C9-0682043D3B11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B64B667-0BDE-4D5C-BC99-EC5707328285}" type="pres">
      <dgm:prSet presAssocID="{72DB1802-690E-44F5-B035-2001E6F1D998}" presName="spaceBetweenRectangles" presStyleCnt="0"/>
      <dgm:spPr/>
    </dgm:pt>
    <dgm:pt modelId="{B01323AC-56DC-41BA-AC4B-05B5D059CE4F}" type="pres">
      <dgm:prSet presAssocID="{7C2328EA-775F-4CCD-A7E5-71A444FD2AE0}" presName="parentLin" presStyleCnt="0"/>
      <dgm:spPr/>
    </dgm:pt>
    <dgm:pt modelId="{321504F0-94C5-481E-A395-A26F4965E563}" type="pres">
      <dgm:prSet presAssocID="{7C2328EA-775F-4CCD-A7E5-71A444FD2AE0}" presName="parentLeftMargin" presStyleLbl="node1" presStyleIdx="1" presStyleCnt="3"/>
      <dgm:spPr/>
      <dgm:t>
        <a:bodyPr/>
        <a:lstStyle/>
        <a:p>
          <a:endParaRPr lang="zh-CN" altLang="en-US"/>
        </a:p>
      </dgm:t>
    </dgm:pt>
    <dgm:pt modelId="{EBD61383-53D4-43F0-A0B2-E9A1D473A2D7}" type="pres">
      <dgm:prSet presAssocID="{7C2328EA-775F-4CCD-A7E5-71A444FD2AE0}" presName="parentText" presStyleLbl="node1" presStyleIdx="2" presStyleCnt="3" custScaleX="71349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1F749D1-3035-460A-8EBE-5A1DD410DEFD}" type="pres">
      <dgm:prSet presAssocID="{7C2328EA-775F-4CCD-A7E5-71A444FD2AE0}" presName="negativeSpace" presStyleCnt="0"/>
      <dgm:spPr/>
    </dgm:pt>
    <dgm:pt modelId="{C140B771-2B5F-4DB7-91D1-E22A525F937F}" type="pres">
      <dgm:prSet presAssocID="{7C2328EA-775F-4CCD-A7E5-71A444FD2AE0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F17112E5-0FC6-48C0-9532-9DE883D49BF8}" srcId="{1F65EA5F-5DF3-4897-86FE-CCCCBFBDD89C}" destId="{6663DD80-1CB3-42AE-AF4B-E50675EC7773}" srcOrd="0" destOrd="0" parTransId="{89C3F06D-F567-40AF-AE91-49E167324DA4}" sibTransId="{9B4B9383-5318-4E78-A3E4-191440C0A736}"/>
    <dgm:cxn modelId="{C036545D-47D8-48F1-A399-507FE3A61A2F}" type="presOf" srcId="{623BCD7D-1397-4448-A387-A2EEDFCBBF3D}" destId="{C140B771-2B5F-4DB7-91D1-E22A525F937F}" srcOrd="0" destOrd="0" presId="urn:microsoft.com/office/officeart/2005/8/layout/list1"/>
    <dgm:cxn modelId="{D13A47E4-AB97-4710-982E-CA77638455E1}" type="presOf" srcId="{1F65EA5F-5DF3-4897-86FE-CCCCBFBDD89C}" destId="{F547942D-DDD9-4BF9-B4D1-79529B02C406}" srcOrd="0" destOrd="0" presId="urn:microsoft.com/office/officeart/2005/8/layout/list1"/>
    <dgm:cxn modelId="{A94E7B54-FCC7-4424-BCBF-582325C07CCE}" srcId="{8833C209-1C16-497A-94C9-0682043D3B11}" destId="{B377A948-BF1C-4EFF-B96A-4B16BF2858EA}" srcOrd="0" destOrd="0" parTransId="{F4766319-E886-4646-AD75-489196EAAF7E}" sibTransId="{D8B2DAB8-2806-4932-9CB2-9EF3EDEB8A86}"/>
    <dgm:cxn modelId="{9C1760BD-5464-4367-A8F7-47A631680339}" type="presOf" srcId="{E4A04471-1333-4891-B83F-810A73D424C5}" destId="{BD5572F4-A864-4E24-84AB-B3140ABB9746}" srcOrd="0" destOrd="0" presId="urn:microsoft.com/office/officeart/2005/8/layout/list1"/>
    <dgm:cxn modelId="{EBFFCC34-E533-4D0F-82CE-F73B5B978258}" type="presOf" srcId="{1F65EA5F-5DF3-4897-86FE-CCCCBFBDD89C}" destId="{120D070E-4603-4176-947D-785977953CF6}" srcOrd="1" destOrd="0" presId="urn:microsoft.com/office/officeart/2005/8/layout/list1"/>
    <dgm:cxn modelId="{4C5712C2-FC74-4054-9E0B-9550E4C3CFFE}" type="presOf" srcId="{6663DD80-1CB3-42AE-AF4B-E50675EC7773}" destId="{3BF9914F-98B7-45DA-80C4-EE3FF874AA01}" srcOrd="0" destOrd="0" presId="urn:microsoft.com/office/officeart/2005/8/layout/list1"/>
    <dgm:cxn modelId="{CE25FEF6-4C67-46BA-A5A1-AEF1FCAFE89D}" type="presOf" srcId="{B0EA5004-DD70-4449-B6EC-6FD5F6606075}" destId="{C140B771-2B5F-4DB7-91D1-E22A525F937F}" srcOrd="0" destOrd="1" presId="urn:microsoft.com/office/officeart/2005/8/layout/list1"/>
    <dgm:cxn modelId="{497C8A24-F92A-416C-944B-D79BD06B237F}" type="presOf" srcId="{219EA342-23B5-4A30-B375-3F6785DF512F}" destId="{BE2B271B-9707-45C4-AF2E-C63B2E34221B}" srcOrd="0" destOrd="2" presId="urn:microsoft.com/office/officeart/2005/8/layout/list1"/>
    <dgm:cxn modelId="{04873357-8AE7-4D74-A208-F496E9211765}" type="presOf" srcId="{B5947AB3-1FD9-4E92-8455-E5B5AB1E5F60}" destId="{BE2B271B-9707-45C4-AF2E-C63B2E34221B}" srcOrd="0" destOrd="3" presId="urn:microsoft.com/office/officeart/2005/8/layout/list1"/>
    <dgm:cxn modelId="{2EE3ED2E-D25B-4F5E-9E91-9DC0311EE31A}" srcId="{E4A04471-1333-4891-B83F-810A73D424C5}" destId="{8833C209-1C16-497A-94C9-0682043D3B11}" srcOrd="1" destOrd="0" parTransId="{46DB264B-BA80-489A-AE49-8904BED51C4F}" sibTransId="{72DB1802-690E-44F5-B035-2001E6F1D998}"/>
    <dgm:cxn modelId="{EE5885D1-31AA-42D8-9F2A-86641D565DE5}" type="presOf" srcId="{8833C209-1C16-497A-94C9-0682043D3B11}" destId="{19F60E7C-7307-40F8-9FD6-6CCA911FEF66}" srcOrd="1" destOrd="0" presId="urn:microsoft.com/office/officeart/2005/8/layout/list1"/>
    <dgm:cxn modelId="{769354CA-7E0E-4D0D-818F-80DD994BC06A}" type="presOf" srcId="{B377A948-BF1C-4EFF-B96A-4B16BF2858EA}" destId="{BE2B271B-9707-45C4-AF2E-C63B2E34221B}" srcOrd="0" destOrd="0" presId="urn:microsoft.com/office/officeart/2005/8/layout/list1"/>
    <dgm:cxn modelId="{455CAFD1-5166-401F-B61B-51F713BDED32}" type="presOf" srcId="{DC45685E-801A-4D48-BAE9-571E399BC1BC}" destId="{BE2B271B-9707-45C4-AF2E-C63B2E34221B}" srcOrd="0" destOrd="4" presId="urn:microsoft.com/office/officeart/2005/8/layout/list1"/>
    <dgm:cxn modelId="{9F5D29A8-88E6-4B26-895A-FE68EB067E0A}" srcId="{8833C209-1C16-497A-94C9-0682043D3B11}" destId="{DC45685E-801A-4D48-BAE9-571E399BC1BC}" srcOrd="4" destOrd="0" parTransId="{11468FE7-4ADE-40BC-9F35-03A75FABB844}" sibTransId="{C2407D95-D61A-4DDA-9117-D952EE7BF40C}"/>
    <dgm:cxn modelId="{D4A384EC-2820-4F63-8ED1-63A434C36D06}" type="presOf" srcId="{8833C209-1C16-497A-94C9-0682043D3B11}" destId="{7E58BA1E-4AC3-44ED-81F3-D8B56E13767F}" srcOrd="0" destOrd="0" presId="urn:microsoft.com/office/officeart/2005/8/layout/list1"/>
    <dgm:cxn modelId="{68E3B6FC-3C82-4B7D-8C8E-F4C229293E87}" type="presOf" srcId="{8E743C0B-0F92-4AC5-8443-4510BC63A249}" destId="{C140B771-2B5F-4DB7-91D1-E22A525F937F}" srcOrd="0" destOrd="3" presId="urn:microsoft.com/office/officeart/2005/8/layout/list1"/>
    <dgm:cxn modelId="{4CA7DBF6-33C7-45DB-B2D8-055FEA4D5987}" srcId="{1F65EA5F-5DF3-4897-86FE-CCCCBFBDD89C}" destId="{1E2265DE-53B6-4622-9747-984B21C95A24}" srcOrd="1" destOrd="0" parTransId="{EE40F86F-44D8-4B1C-8E12-5D47C032FD97}" sibTransId="{CA157E1C-5411-4653-90EA-C8D99CA04E28}"/>
    <dgm:cxn modelId="{A61B9FFC-28B1-4A24-9687-C7F55894EB63}" type="presOf" srcId="{7AE47BBB-A6FD-4C6D-BEBD-FDDAA6349524}" destId="{C140B771-2B5F-4DB7-91D1-E22A525F937F}" srcOrd="0" destOrd="2" presId="urn:microsoft.com/office/officeart/2005/8/layout/list1"/>
    <dgm:cxn modelId="{C9543C2D-8B1D-413C-A20E-4DF28C2D68BB}" srcId="{7C2328EA-775F-4CCD-A7E5-71A444FD2AE0}" destId="{623BCD7D-1397-4448-A387-A2EEDFCBBF3D}" srcOrd="0" destOrd="0" parTransId="{63122CBF-5004-4F33-AEC6-FF767F74E7A0}" sibTransId="{F3CEA817-13E1-46A5-A45A-E650E31298E8}"/>
    <dgm:cxn modelId="{8DD9459A-10D3-471D-9D4E-BD9C10756297}" type="presOf" srcId="{3C35C1B5-4A50-431E-9EEE-D88D86EB75B9}" destId="{BE2B271B-9707-45C4-AF2E-C63B2E34221B}" srcOrd="0" destOrd="1" presId="urn:microsoft.com/office/officeart/2005/8/layout/list1"/>
    <dgm:cxn modelId="{DC7EB5A1-9BD8-4414-A4A2-3F7975D73D3A}" type="presOf" srcId="{1E2265DE-53B6-4622-9747-984B21C95A24}" destId="{3BF9914F-98B7-45DA-80C4-EE3FF874AA01}" srcOrd="0" destOrd="1" presId="urn:microsoft.com/office/officeart/2005/8/layout/list1"/>
    <dgm:cxn modelId="{5C6CE8CA-0442-46E9-BA2F-66F85FFEAE1E}" srcId="{E4A04471-1333-4891-B83F-810A73D424C5}" destId="{1F65EA5F-5DF3-4897-86FE-CCCCBFBDD89C}" srcOrd="0" destOrd="0" parTransId="{2C4150B7-4CCA-4B06-91D1-1934F07AC9B2}" sibTransId="{C376396B-4723-4520-9AEC-7E8C46927828}"/>
    <dgm:cxn modelId="{5670B2BC-ED1F-49E7-A218-23AB418EA4CC}" srcId="{E4A04471-1333-4891-B83F-810A73D424C5}" destId="{7C2328EA-775F-4CCD-A7E5-71A444FD2AE0}" srcOrd="2" destOrd="0" parTransId="{46AA330E-F5B3-445B-A096-E4C9FFEADC83}" sibTransId="{F41A2C9C-018F-4C86-805C-925F7EE528E9}"/>
    <dgm:cxn modelId="{CB63A514-C897-4BCF-BB91-1EA2913113C4}" srcId="{8833C209-1C16-497A-94C9-0682043D3B11}" destId="{3C35C1B5-4A50-431E-9EEE-D88D86EB75B9}" srcOrd="1" destOrd="0" parTransId="{531215A8-FC44-4080-ABD0-152D6C59405E}" sibTransId="{9ED23011-188E-42B3-BD03-A8C49000D10A}"/>
    <dgm:cxn modelId="{F6251AC3-6B83-4973-96BF-0D7A585E6A6F}" srcId="{7C2328EA-775F-4CCD-A7E5-71A444FD2AE0}" destId="{B0EA5004-DD70-4449-B6EC-6FD5F6606075}" srcOrd="1" destOrd="0" parTransId="{1C6E1353-7F61-46ED-98ED-F0F2C6DF3693}" sibTransId="{4AA04F8B-2FB1-411E-A8B2-17D12905A1A5}"/>
    <dgm:cxn modelId="{1D2E9377-BD0D-48D6-86B7-67CFE4F915B1}" srcId="{8833C209-1C16-497A-94C9-0682043D3B11}" destId="{219EA342-23B5-4A30-B375-3F6785DF512F}" srcOrd="2" destOrd="0" parTransId="{6B897C24-087C-46D7-B4B2-A1EACF1D852C}" sibTransId="{2A5C861A-0BF7-4DFA-84B3-D601D24BC880}"/>
    <dgm:cxn modelId="{5A34F061-6F40-43AF-B228-22A72C1C48BF}" srcId="{7C2328EA-775F-4CCD-A7E5-71A444FD2AE0}" destId="{7AE47BBB-A6FD-4C6D-BEBD-FDDAA6349524}" srcOrd="2" destOrd="0" parTransId="{E3DBA6B2-C9FF-4329-92A2-6A8740FCCEE7}" sibTransId="{1D1D214D-D09E-4C72-862E-1987D5167AC7}"/>
    <dgm:cxn modelId="{41131DA1-D52B-4DC8-A1D8-4361176FDA7C}" type="presOf" srcId="{7C2328EA-775F-4CCD-A7E5-71A444FD2AE0}" destId="{EBD61383-53D4-43F0-A0B2-E9A1D473A2D7}" srcOrd="1" destOrd="0" presId="urn:microsoft.com/office/officeart/2005/8/layout/list1"/>
    <dgm:cxn modelId="{1DCD6CFE-062B-4BC2-929C-67644B5C1DAE}" type="presOf" srcId="{7C2328EA-775F-4CCD-A7E5-71A444FD2AE0}" destId="{321504F0-94C5-481E-A395-A26F4965E563}" srcOrd="0" destOrd="0" presId="urn:microsoft.com/office/officeart/2005/8/layout/list1"/>
    <dgm:cxn modelId="{85E97BA1-99EE-4022-8A9D-A0D51EB62453}" srcId="{7C2328EA-775F-4CCD-A7E5-71A444FD2AE0}" destId="{8E743C0B-0F92-4AC5-8443-4510BC63A249}" srcOrd="3" destOrd="0" parTransId="{BA73A414-19D9-4FED-987E-5D80844FAE87}" sibTransId="{5014B221-2A9C-4108-8B45-4B61EE0388FB}"/>
    <dgm:cxn modelId="{FDB95DF4-CE0B-4FF6-9E7E-997A8F79E115}" srcId="{8833C209-1C16-497A-94C9-0682043D3B11}" destId="{B5947AB3-1FD9-4E92-8455-E5B5AB1E5F60}" srcOrd="3" destOrd="0" parTransId="{7E503A84-E636-489F-941E-7E711CDBE200}" sibTransId="{2D93E276-3EEF-4095-8821-1A0405D9C1A2}"/>
    <dgm:cxn modelId="{20F7313D-C069-4AC3-BF65-F7A51266FCB4}" type="presParOf" srcId="{BD5572F4-A864-4E24-84AB-B3140ABB9746}" destId="{E3A2539A-BD9C-44CF-848A-199A7262E5EA}" srcOrd="0" destOrd="0" presId="urn:microsoft.com/office/officeart/2005/8/layout/list1"/>
    <dgm:cxn modelId="{62CACC81-839E-47C6-8156-1406D405F838}" type="presParOf" srcId="{E3A2539A-BD9C-44CF-848A-199A7262E5EA}" destId="{F547942D-DDD9-4BF9-B4D1-79529B02C406}" srcOrd="0" destOrd="0" presId="urn:microsoft.com/office/officeart/2005/8/layout/list1"/>
    <dgm:cxn modelId="{A351913E-31B5-48F5-A295-C0DAE63D9314}" type="presParOf" srcId="{E3A2539A-BD9C-44CF-848A-199A7262E5EA}" destId="{120D070E-4603-4176-947D-785977953CF6}" srcOrd="1" destOrd="0" presId="urn:microsoft.com/office/officeart/2005/8/layout/list1"/>
    <dgm:cxn modelId="{04E95F3A-2E40-4E34-9C0C-9E5BDABBDCD4}" type="presParOf" srcId="{BD5572F4-A864-4E24-84AB-B3140ABB9746}" destId="{1FDEBC37-075E-45C2-B798-50D58FA847DF}" srcOrd="1" destOrd="0" presId="urn:microsoft.com/office/officeart/2005/8/layout/list1"/>
    <dgm:cxn modelId="{070A047A-65FD-45B4-9FC8-ADF0B5CE985C}" type="presParOf" srcId="{BD5572F4-A864-4E24-84AB-B3140ABB9746}" destId="{3BF9914F-98B7-45DA-80C4-EE3FF874AA01}" srcOrd="2" destOrd="0" presId="urn:microsoft.com/office/officeart/2005/8/layout/list1"/>
    <dgm:cxn modelId="{FBEEDCAD-667B-42B1-8C30-586879068AAC}" type="presParOf" srcId="{BD5572F4-A864-4E24-84AB-B3140ABB9746}" destId="{A4F4373A-EFE2-45E7-93AE-C1E830D96FFD}" srcOrd="3" destOrd="0" presId="urn:microsoft.com/office/officeart/2005/8/layout/list1"/>
    <dgm:cxn modelId="{EE243A8C-F305-4A8A-9711-8B6675C80EAB}" type="presParOf" srcId="{BD5572F4-A864-4E24-84AB-B3140ABB9746}" destId="{A4A5513D-C301-4ADE-A5C3-6F0DF49B0D00}" srcOrd="4" destOrd="0" presId="urn:microsoft.com/office/officeart/2005/8/layout/list1"/>
    <dgm:cxn modelId="{7E09F6DF-F187-41A5-9C3A-D58136130212}" type="presParOf" srcId="{A4A5513D-C301-4ADE-A5C3-6F0DF49B0D00}" destId="{7E58BA1E-4AC3-44ED-81F3-D8B56E13767F}" srcOrd="0" destOrd="0" presId="urn:microsoft.com/office/officeart/2005/8/layout/list1"/>
    <dgm:cxn modelId="{78FF4CA1-F85A-40CE-A996-B7CFC6AEB912}" type="presParOf" srcId="{A4A5513D-C301-4ADE-A5C3-6F0DF49B0D00}" destId="{19F60E7C-7307-40F8-9FD6-6CCA911FEF66}" srcOrd="1" destOrd="0" presId="urn:microsoft.com/office/officeart/2005/8/layout/list1"/>
    <dgm:cxn modelId="{D48AE1C7-7692-463F-BC80-3E967C3588A0}" type="presParOf" srcId="{BD5572F4-A864-4E24-84AB-B3140ABB9746}" destId="{F12FB36C-4E2A-47A7-A354-E70C82B7169F}" srcOrd="5" destOrd="0" presId="urn:microsoft.com/office/officeart/2005/8/layout/list1"/>
    <dgm:cxn modelId="{69CD1BEB-05A5-4EEB-8D50-D1B83AB3A61D}" type="presParOf" srcId="{BD5572F4-A864-4E24-84AB-B3140ABB9746}" destId="{BE2B271B-9707-45C4-AF2E-C63B2E34221B}" srcOrd="6" destOrd="0" presId="urn:microsoft.com/office/officeart/2005/8/layout/list1"/>
    <dgm:cxn modelId="{05FCD066-41C3-46D4-82AB-16657FBC33A7}" type="presParOf" srcId="{BD5572F4-A864-4E24-84AB-B3140ABB9746}" destId="{3B64B667-0BDE-4D5C-BC99-EC5707328285}" srcOrd="7" destOrd="0" presId="urn:microsoft.com/office/officeart/2005/8/layout/list1"/>
    <dgm:cxn modelId="{48FD1FFE-51CB-487C-9EA7-3D4C16A1077C}" type="presParOf" srcId="{BD5572F4-A864-4E24-84AB-B3140ABB9746}" destId="{B01323AC-56DC-41BA-AC4B-05B5D059CE4F}" srcOrd="8" destOrd="0" presId="urn:microsoft.com/office/officeart/2005/8/layout/list1"/>
    <dgm:cxn modelId="{9F5FD767-725A-45A7-93EC-6A9CCF956624}" type="presParOf" srcId="{B01323AC-56DC-41BA-AC4B-05B5D059CE4F}" destId="{321504F0-94C5-481E-A395-A26F4965E563}" srcOrd="0" destOrd="0" presId="urn:microsoft.com/office/officeart/2005/8/layout/list1"/>
    <dgm:cxn modelId="{6C71D7D8-892B-4B52-B10E-C7D25CBD0744}" type="presParOf" srcId="{B01323AC-56DC-41BA-AC4B-05B5D059CE4F}" destId="{EBD61383-53D4-43F0-A0B2-E9A1D473A2D7}" srcOrd="1" destOrd="0" presId="urn:microsoft.com/office/officeart/2005/8/layout/list1"/>
    <dgm:cxn modelId="{959BE496-06A1-4E0C-8F8F-B3131CE44B95}" type="presParOf" srcId="{BD5572F4-A864-4E24-84AB-B3140ABB9746}" destId="{91F749D1-3035-460A-8EBE-5A1DD410DEFD}" srcOrd="9" destOrd="0" presId="urn:microsoft.com/office/officeart/2005/8/layout/list1"/>
    <dgm:cxn modelId="{42F7CFCA-04B6-4996-A2A1-65BD8487C3F9}" type="presParOf" srcId="{BD5572F4-A864-4E24-84AB-B3140ABB9746}" destId="{C140B771-2B5F-4DB7-91D1-E22A525F937F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25B9DD29-6CA3-4036-9EB4-C5F7F047E218}" type="doc">
      <dgm:prSet loTypeId="urn:microsoft.com/office/officeart/2005/8/layout/hProcess9" loCatId="process" qsTypeId="urn:microsoft.com/office/officeart/2005/8/quickstyle/3d7" qsCatId="3D" csTypeId="urn:microsoft.com/office/officeart/2005/8/colors/colorful3" csCatId="colorful" phldr="1"/>
      <dgm:spPr/>
    </dgm:pt>
    <dgm:pt modelId="{9B3A6DE0-D1B1-4319-BDFA-B9C836D710C0}">
      <dgm:prSet phldrT="[文本]"/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r>
            <a:rPr lang="zh-CN" altLang="en-US" dirty="0" smtClean="0"/>
            <a:t>数据库表，视图</a:t>
          </a:r>
          <a:endParaRPr lang="zh-CN" altLang="en-US" dirty="0"/>
        </a:p>
      </dgm:t>
    </dgm:pt>
    <dgm:pt modelId="{39AF8B72-DF3D-45FF-A944-9CCB71BFF411}" type="parTrans" cxnId="{125E63CD-FDFF-46C4-827B-0C99ED7C2878}">
      <dgm:prSet/>
      <dgm:spPr/>
      <dgm:t>
        <a:bodyPr/>
        <a:lstStyle/>
        <a:p>
          <a:endParaRPr lang="zh-CN" altLang="en-US"/>
        </a:p>
      </dgm:t>
    </dgm:pt>
    <dgm:pt modelId="{30CF6650-5C52-4744-87B1-987D422454A8}" type="sibTrans" cxnId="{125E63CD-FDFF-46C4-827B-0C99ED7C2878}">
      <dgm:prSet/>
      <dgm:spPr/>
      <dgm:t>
        <a:bodyPr/>
        <a:lstStyle/>
        <a:p>
          <a:endParaRPr lang="zh-CN" altLang="en-US"/>
        </a:p>
      </dgm:t>
    </dgm:pt>
    <dgm:pt modelId="{B07C1FB8-9560-4034-843E-911F08A05377}">
      <dgm:prSet phldrT="[文本]"/>
      <dgm:spPr/>
      <dgm:t>
        <a:bodyPr/>
        <a:lstStyle/>
        <a:p>
          <a:r>
            <a:rPr lang="zh-CN" altLang="en-US" dirty="0" smtClean="0"/>
            <a:t>生成实体</a:t>
          </a:r>
          <a:endParaRPr lang="zh-CN" altLang="en-US" dirty="0"/>
        </a:p>
      </dgm:t>
    </dgm:pt>
    <dgm:pt modelId="{E322E595-6AC5-4F35-A25F-AAA1ACD75FDA}" type="parTrans" cxnId="{55589CB9-544B-4420-8BDD-B818BC8BD80C}">
      <dgm:prSet/>
      <dgm:spPr/>
      <dgm:t>
        <a:bodyPr/>
        <a:lstStyle/>
        <a:p>
          <a:endParaRPr lang="zh-CN" altLang="en-US"/>
        </a:p>
      </dgm:t>
    </dgm:pt>
    <dgm:pt modelId="{AE4234ED-E094-45ED-A107-E50D7246D224}" type="sibTrans" cxnId="{55589CB9-544B-4420-8BDD-B818BC8BD80C}">
      <dgm:prSet/>
      <dgm:spPr/>
      <dgm:t>
        <a:bodyPr/>
        <a:lstStyle/>
        <a:p>
          <a:endParaRPr lang="zh-CN" altLang="en-US"/>
        </a:p>
      </dgm:t>
    </dgm:pt>
    <dgm:pt modelId="{D0AE7860-7E46-4C0A-8B1A-18D02F93F0FA}">
      <dgm:prSet phldrT="[文本]"/>
      <dgm:spPr/>
      <dgm:t>
        <a:bodyPr/>
        <a:lstStyle/>
        <a:p>
          <a:r>
            <a:rPr lang="zh-CN" altLang="en-US" dirty="0" smtClean="0"/>
            <a:t>生成页面</a:t>
          </a:r>
          <a:endParaRPr lang="zh-CN" altLang="en-US" dirty="0"/>
        </a:p>
      </dgm:t>
    </dgm:pt>
    <dgm:pt modelId="{36E93095-96A5-4EB5-A248-54CA7A6457F2}" type="parTrans" cxnId="{6E78EFAD-6C1C-4363-828C-DD0E2377DF9A}">
      <dgm:prSet/>
      <dgm:spPr/>
      <dgm:t>
        <a:bodyPr/>
        <a:lstStyle/>
        <a:p>
          <a:endParaRPr lang="zh-CN" altLang="en-US"/>
        </a:p>
      </dgm:t>
    </dgm:pt>
    <dgm:pt modelId="{E64D57E7-C943-4900-9E89-26268ADC13C5}" type="sibTrans" cxnId="{6E78EFAD-6C1C-4363-828C-DD0E2377DF9A}">
      <dgm:prSet/>
      <dgm:spPr/>
      <dgm:t>
        <a:bodyPr/>
        <a:lstStyle/>
        <a:p>
          <a:endParaRPr lang="zh-CN" altLang="en-US"/>
        </a:p>
      </dgm:t>
    </dgm:pt>
    <dgm:pt modelId="{77B1313E-051D-4D74-9202-6085E1C7CED4}" type="pres">
      <dgm:prSet presAssocID="{25B9DD29-6CA3-4036-9EB4-C5F7F047E218}" presName="CompostProcess" presStyleCnt="0">
        <dgm:presLayoutVars>
          <dgm:dir/>
          <dgm:resizeHandles val="exact"/>
        </dgm:presLayoutVars>
      </dgm:prSet>
      <dgm:spPr/>
    </dgm:pt>
    <dgm:pt modelId="{9628995D-98D7-4A8F-9429-27FE904748D0}" type="pres">
      <dgm:prSet presAssocID="{25B9DD29-6CA3-4036-9EB4-C5F7F047E218}" presName="arrow" presStyleLbl="bgShp" presStyleIdx="0" presStyleCnt="1" custScaleX="117647" custLinFactNeighborX="-7014" custLinFactNeighborY="-1505"/>
      <dgm:spPr/>
    </dgm:pt>
    <dgm:pt modelId="{0B70E33B-8F00-45CE-AE5C-279FEA675A14}" type="pres">
      <dgm:prSet presAssocID="{25B9DD29-6CA3-4036-9EB4-C5F7F047E218}" presName="linearProcess" presStyleCnt="0"/>
      <dgm:spPr/>
    </dgm:pt>
    <dgm:pt modelId="{D5390D60-15AC-4BF6-B758-7460760DEC53}" type="pres">
      <dgm:prSet presAssocID="{9B3A6DE0-D1B1-4319-BDFA-B9C836D710C0}" presName="textNode" presStyleLbl="node1" presStyleIdx="0" presStyleCnt="3" custScaleX="13675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2E1DF59-0BF9-4F44-B19A-2F866F0F0116}" type="pres">
      <dgm:prSet presAssocID="{30CF6650-5C52-4744-87B1-987D422454A8}" presName="sibTrans" presStyleCnt="0"/>
      <dgm:spPr/>
    </dgm:pt>
    <dgm:pt modelId="{B797923D-1D94-4C1A-B415-38DAC73B17E1}" type="pres">
      <dgm:prSet presAssocID="{B07C1FB8-9560-4034-843E-911F08A05377}" presName="textNode" presStyleLbl="node1" presStyleIdx="1" presStyleCnt="3" custScaleX="119739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5C17D92-9976-4BE8-B5AF-933BE4FF1F70}" type="pres">
      <dgm:prSet presAssocID="{AE4234ED-E094-45ED-A107-E50D7246D224}" presName="sibTrans" presStyleCnt="0"/>
      <dgm:spPr/>
    </dgm:pt>
    <dgm:pt modelId="{A704533E-3C17-41EB-8586-C5CA64813C94}" type="pres">
      <dgm:prSet presAssocID="{D0AE7860-7E46-4C0A-8B1A-18D02F93F0FA}" presName="textNode" presStyleLbl="node1" presStyleIdx="2" presStyleCnt="3" custScaleX="11272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243C9EF5-8BA1-4314-A2B0-A9352B412C51}" type="presOf" srcId="{9B3A6DE0-D1B1-4319-BDFA-B9C836D710C0}" destId="{D5390D60-15AC-4BF6-B758-7460760DEC53}" srcOrd="0" destOrd="0" presId="urn:microsoft.com/office/officeart/2005/8/layout/hProcess9"/>
    <dgm:cxn modelId="{06A46A03-540D-4ACA-8160-154117836544}" type="presOf" srcId="{B07C1FB8-9560-4034-843E-911F08A05377}" destId="{B797923D-1D94-4C1A-B415-38DAC73B17E1}" srcOrd="0" destOrd="0" presId="urn:microsoft.com/office/officeart/2005/8/layout/hProcess9"/>
    <dgm:cxn modelId="{55589CB9-544B-4420-8BDD-B818BC8BD80C}" srcId="{25B9DD29-6CA3-4036-9EB4-C5F7F047E218}" destId="{B07C1FB8-9560-4034-843E-911F08A05377}" srcOrd="1" destOrd="0" parTransId="{E322E595-6AC5-4F35-A25F-AAA1ACD75FDA}" sibTransId="{AE4234ED-E094-45ED-A107-E50D7246D224}"/>
    <dgm:cxn modelId="{FD8F02C2-D73F-4D09-A205-75FB5117F10A}" type="presOf" srcId="{D0AE7860-7E46-4C0A-8B1A-18D02F93F0FA}" destId="{A704533E-3C17-41EB-8586-C5CA64813C94}" srcOrd="0" destOrd="0" presId="urn:microsoft.com/office/officeart/2005/8/layout/hProcess9"/>
    <dgm:cxn modelId="{125E63CD-FDFF-46C4-827B-0C99ED7C2878}" srcId="{25B9DD29-6CA3-4036-9EB4-C5F7F047E218}" destId="{9B3A6DE0-D1B1-4319-BDFA-B9C836D710C0}" srcOrd="0" destOrd="0" parTransId="{39AF8B72-DF3D-45FF-A944-9CCB71BFF411}" sibTransId="{30CF6650-5C52-4744-87B1-987D422454A8}"/>
    <dgm:cxn modelId="{6E78EFAD-6C1C-4363-828C-DD0E2377DF9A}" srcId="{25B9DD29-6CA3-4036-9EB4-C5F7F047E218}" destId="{D0AE7860-7E46-4C0A-8B1A-18D02F93F0FA}" srcOrd="2" destOrd="0" parTransId="{36E93095-96A5-4EB5-A248-54CA7A6457F2}" sibTransId="{E64D57E7-C943-4900-9E89-26268ADC13C5}"/>
    <dgm:cxn modelId="{3D8F426D-2C14-44A1-820C-991747C17B65}" type="presOf" srcId="{25B9DD29-6CA3-4036-9EB4-C5F7F047E218}" destId="{77B1313E-051D-4D74-9202-6085E1C7CED4}" srcOrd="0" destOrd="0" presId="urn:microsoft.com/office/officeart/2005/8/layout/hProcess9"/>
    <dgm:cxn modelId="{6DC7A82F-3DE3-42F4-8520-075AADD3B8B4}" type="presParOf" srcId="{77B1313E-051D-4D74-9202-6085E1C7CED4}" destId="{9628995D-98D7-4A8F-9429-27FE904748D0}" srcOrd="0" destOrd="0" presId="urn:microsoft.com/office/officeart/2005/8/layout/hProcess9"/>
    <dgm:cxn modelId="{5B5516ED-FB99-472A-AAFD-002E37E8DDEC}" type="presParOf" srcId="{77B1313E-051D-4D74-9202-6085E1C7CED4}" destId="{0B70E33B-8F00-45CE-AE5C-279FEA675A14}" srcOrd="1" destOrd="0" presId="urn:microsoft.com/office/officeart/2005/8/layout/hProcess9"/>
    <dgm:cxn modelId="{852E165D-62ED-45E3-B6C8-9B316BB9DD30}" type="presParOf" srcId="{0B70E33B-8F00-45CE-AE5C-279FEA675A14}" destId="{D5390D60-15AC-4BF6-B758-7460760DEC53}" srcOrd="0" destOrd="0" presId="urn:microsoft.com/office/officeart/2005/8/layout/hProcess9"/>
    <dgm:cxn modelId="{86536A28-B391-4C0A-93A2-E10AC4B68525}" type="presParOf" srcId="{0B70E33B-8F00-45CE-AE5C-279FEA675A14}" destId="{12E1DF59-0BF9-4F44-B19A-2F866F0F0116}" srcOrd="1" destOrd="0" presId="urn:microsoft.com/office/officeart/2005/8/layout/hProcess9"/>
    <dgm:cxn modelId="{66074C0D-E79A-4D10-B636-F5005003EE97}" type="presParOf" srcId="{0B70E33B-8F00-45CE-AE5C-279FEA675A14}" destId="{B797923D-1D94-4C1A-B415-38DAC73B17E1}" srcOrd="2" destOrd="0" presId="urn:microsoft.com/office/officeart/2005/8/layout/hProcess9"/>
    <dgm:cxn modelId="{96C571D9-C1E4-421A-A994-462441FBBC67}" type="presParOf" srcId="{0B70E33B-8F00-45CE-AE5C-279FEA675A14}" destId="{55C17D92-9976-4BE8-B5AF-933BE4FF1F70}" srcOrd="3" destOrd="0" presId="urn:microsoft.com/office/officeart/2005/8/layout/hProcess9"/>
    <dgm:cxn modelId="{9098B6FB-5513-494E-940F-0F4132A03835}" type="presParOf" srcId="{0B70E33B-8F00-45CE-AE5C-279FEA675A14}" destId="{A704533E-3C17-41EB-8586-C5CA64813C94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33F4A5E-388F-47C0-9B45-BE46FCE146AD}">
      <dsp:nvSpPr>
        <dsp:cNvPr id="0" name=""/>
        <dsp:cNvSpPr/>
      </dsp:nvSpPr>
      <dsp:spPr>
        <a:xfrm rot="10800000">
          <a:off x="1105067" y="1571"/>
          <a:ext cx="3565536" cy="827923"/>
        </a:xfrm>
        <a:prstGeom prst="homePlat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65091" tIns="125730" rIns="234696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3300" kern="1200" dirty="0" smtClean="0"/>
            <a:t>技术架构</a:t>
          </a:r>
          <a:endParaRPr lang="zh-CN" altLang="en-US" sz="3300" kern="1200" dirty="0"/>
        </a:p>
      </dsp:txBody>
      <dsp:txXfrm rot="10800000">
        <a:off x="1105067" y="1571"/>
        <a:ext cx="3565536" cy="827923"/>
      </dsp:txXfrm>
    </dsp:sp>
    <dsp:sp modelId="{0E25882B-9224-44F4-90B5-F49535F5EE35}">
      <dsp:nvSpPr>
        <dsp:cNvPr id="0" name=""/>
        <dsp:cNvSpPr/>
      </dsp:nvSpPr>
      <dsp:spPr>
        <a:xfrm>
          <a:off x="691105" y="1571"/>
          <a:ext cx="827923" cy="827923"/>
        </a:xfrm>
        <a:prstGeom prst="ellipse">
          <a:avLst/>
        </a:prstGeom>
        <a:gradFill rotWithShape="0">
          <a:gsLst>
            <a:gs pos="0">
              <a:schemeClr val="accent3">
                <a:tint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tint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tint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E10BDCC2-3ED0-4F11-A7D8-37C151D4E4FB}">
      <dsp:nvSpPr>
        <dsp:cNvPr id="0" name=""/>
        <dsp:cNvSpPr/>
      </dsp:nvSpPr>
      <dsp:spPr>
        <a:xfrm rot="10800000">
          <a:off x="1105067" y="1076636"/>
          <a:ext cx="3565536" cy="827923"/>
        </a:xfrm>
        <a:prstGeom prst="homePlate">
          <a:avLst/>
        </a:prstGeom>
        <a:gradFill rotWithShape="0">
          <a:gsLst>
            <a:gs pos="0">
              <a:schemeClr val="accent3">
                <a:hueOff val="-6433466"/>
                <a:satOff val="28343"/>
                <a:lumOff val="11960"/>
                <a:alphaOff val="0"/>
                <a:shade val="51000"/>
                <a:satMod val="130000"/>
              </a:schemeClr>
            </a:gs>
            <a:gs pos="80000">
              <a:schemeClr val="accent3">
                <a:hueOff val="-6433466"/>
                <a:satOff val="28343"/>
                <a:lumOff val="11960"/>
                <a:alphaOff val="0"/>
                <a:shade val="93000"/>
                <a:satMod val="130000"/>
              </a:schemeClr>
            </a:gs>
            <a:gs pos="100000">
              <a:schemeClr val="accent3">
                <a:hueOff val="-6433466"/>
                <a:satOff val="28343"/>
                <a:lumOff val="1196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65091" tIns="125730" rIns="234696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3300" kern="1200" dirty="0" smtClean="0"/>
            <a:t>解决方案</a:t>
          </a:r>
          <a:endParaRPr lang="zh-CN" altLang="en-US" sz="3300" kern="1200" dirty="0"/>
        </a:p>
      </dsp:txBody>
      <dsp:txXfrm rot="10800000">
        <a:off x="1105067" y="1076636"/>
        <a:ext cx="3565536" cy="827923"/>
      </dsp:txXfrm>
    </dsp:sp>
    <dsp:sp modelId="{20CB9E6A-A127-469E-938D-88D6596117BD}">
      <dsp:nvSpPr>
        <dsp:cNvPr id="0" name=""/>
        <dsp:cNvSpPr/>
      </dsp:nvSpPr>
      <dsp:spPr>
        <a:xfrm>
          <a:off x="691105" y="1076636"/>
          <a:ext cx="827923" cy="827923"/>
        </a:xfrm>
        <a:prstGeom prst="ellipse">
          <a:avLst/>
        </a:prstGeom>
        <a:gradFill rotWithShape="0">
          <a:gsLst>
            <a:gs pos="0">
              <a:schemeClr val="accent3">
                <a:tint val="50000"/>
                <a:hueOff val="-6798965"/>
                <a:satOff val="34295"/>
                <a:lumOff val="4655"/>
                <a:alphaOff val="0"/>
                <a:shade val="51000"/>
                <a:satMod val="130000"/>
              </a:schemeClr>
            </a:gs>
            <a:gs pos="80000">
              <a:schemeClr val="accent3">
                <a:tint val="50000"/>
                <a:hueOff val="-6798965"/>
                <a:satOff val="34295"/>
                <a:lumOff val="4655"/>
                <a:alphaOff val="0"/>
                <a:shade val="93000"/>
                <a:satMod val="130000"/>
              </a:schemeClr>
            </a:gs>
            <a:gs pos="100000">
              <a:schemeClr val="accent3">
                <a:tint val="50000"/>
                <a:hueOff val="-6798965"/>
                <a:satOff val="34295"/>
                <a:lumOff val="465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E106B49F-5D28-426D-ABFE-950D4B1ED45C}">
      <dsp:nvSpPr>
        <dsp:cNvPr id="0" name=""/>
        <dsp:cNvSpPr/>
      </dsp:nvSpPr>
      <dsp:spPr>
        <a:xfrm rot="10800000">
          <a:off x="1105067" y="2151700"/>
          <a:ext cx="3565536" cy="827923"/>
        </a:xfrm>
        <a:prstGeom prst="homePlate">
          <a:avLst/>
        </a:prstGeom>
        <a:gradFill rotWithShape="0">
          <a:gsLst>
            <a:gs pos="0">
              <a:schemeClr val="accent3">
                <a:hueOff val="-12866931"/>
                <a:satOff val="56687"/>
                <a:lumOff val="23920"/>
                <a:alphaOff val="0"/>
                <a:shade val="51000"/>
                <a:satMod val="130000"/>
              </a:schemeClr>
            </a:gs>
            <a:gs pos="80000">
              <a:schemeClr val="accent3">
                <a:hueOff val="-12866931"/>
                <a:satOff val="56687"/>
                <a:lumOff val="23920"/>
                <a:alphaOff val="0"/>
                <a:shade val="93000"/>
                <a:satMod val="130000"/>
              </a:schemeClr>
            </a:gs>
            <a:gs pos="100000">
              <a:schemeClr val="accent3">
                <a:hueOff val="-12866931"/>
                <a:satOff val="56687"/>
                <a:lumOff val="2392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65091" tIns="125730" rIns="234696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3300" kern="1200" dirty="0" smtClean="0"/>
            <a:t>性能优化</a:t>
          </a:r>
          <a:endParaRPr lang="zh-CN" altLang="en-US" sz="3300" kern="1200" dirty="0"/>
        </a:p>
      </dsp:txBody>
      <dsp:txXfrm rot="10800000">
        <a:off x="1105067" y="2151700"/>
        <a:ext cx="3565536" cy="827923"/>
      </dsp:txXfrm>
    </dsp:sp>
    <dsp:sp modelId="{BAC0B973-30F2-46FC-9095-04BDF0DF1A6C}">
      <dsp:nvSpPr>
        <dsp:cNvPr id="0" name=""/>
        <dsp:cNvSpPr/>
      </dsp:nvSpPr>
      <dsp:spPr>
        <a:xfrm>
          <a:off x="691105" y="2151700"/>
          <a:ext cx="827923" cy="827923"/>
        </a:xfrm>
        <a:prstGeom prst="ellipse">
          <a:avLst/>
        </a:prstGeom>
        <a:gradFill rotWithShape="0">
          <a:gsLst>
            <a:gs pos="0">
              <a:schemeClr val="accent3">
                <a:tint val="50000"/>
                <a:hueOff val="-13597929"/>
                <a:satOff val="68590"/>
                <a:lumOff val="9311"/>
                <a:alphaOff val="0"/>
                <a:shade val="51000"/>
                <a:satMod val="130000"/>
              </a:schemeClr>
            </a:gs>
            <a:gs pos="80000">
              <a:schemeClr val="accent3">
                <a:tint val="50000"/>
                <a:hueOff val="-13597929"/>
                <a:satOff val="68590"/>
                <a:lumOff val="9311"/>
                <a:alphaOff val="0"/>
                <a:shade val="93000"/>
                <a:satMod val="130000"/>
              </a:schemeClr>
            </a:gs>
            <a:gs pos="100000">
              <a:schemeClr val="accent3">
                <a:tint val="50000"/>
                <a:hueOff val="-13597929"/>
                <a:satOff val="68590"/>
                <a:lumOff val="931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1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1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1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1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1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29F93F9-314E-4EFD-93DB-90B50E8A5DC0}">
      <dsp:nvSpPr>
        <dsp:cNvPr id="0" name=""/>
        <dsp:cNvSpPr/>
      </dsp:nvSpPr>
      <dsp:spPr>
        <a:xfrm>
          <a:off x="227429" y="804709"/>
          <a:ext cx="867406" cy="867406"/>
        </a:xfrm>
        <a:prstGeom prst="ellipse">
          <a:avLst/>
        </a:prstGeom>
        <a:gradFill rotWithShape="0">
          <a:gsLst>
            <a:gs pos="0">
              <a:schemeClr val="accent3">
                <a:alpha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alpha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alpha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tx1"/>
        </a:fontRef>
      </dsp:style>
    </dsp:sp>
    <dsp:sp modelId="{E586EFAF-DA53-476D-A75E-8B1FBE0CFA11}">
      <dsp:nvSpPr>
        <dsp:cNvPr id="0" name=""/>
        <dsp:cNvSpPr/>
      </dsp:nvSpPr>
      <dsp:spPr>
        <a:xfrm>
          <a:off x="661132" y="804709"/>
          <a:ext cx="4627929" cy="8674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55880" rIns="0" bIns="55880" numCol="1" spcCol="1270" anchor="ctr" anchorCtr="0">
          <a:noAutofit/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pPr lvl="0" algn="l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4400" b="1" kern="1200" cap="none" spc="50" dirty="0" smtClean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rPr>
            <a:t>技术架构</a:t>
          </a:r>
          <a:endParaRPr lang="zh-CN" altLang="en-US" sz="4400" b="1" kern="1200" cap="none" spc="50" dirty="0">
            <a:ln w="11430"/>
            <a:solidFill>
              <a:srgbClr val="003F56"/>
            </a:soli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sp:txBody>
      <dsp:txXfrm>
        <a:off x="661132" y="804709"/>
        <a:ext cx="4627929" cy="867406"/>
      </dsp:txXfrm>
    </dsp:sp>
  </dsp:spTree>
</dsp:drawing>
</file>

<file path=ppt/diagrams/drawing2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81C72FE-3E5E-4008-B457-285A468774AC}">
      <dsp:nvSpPr>
        <dsp:cNvPr id="0" name=""/>
        <dsp:cNvSpPr/>
      </dsp:nvSpPr>
      <dsp:spPr>
        <a:xfrm>
          <a:off x="5751" y="0"/>
          <a:ext cx="2018161" cy="5953814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z="-152400" extrusionH="63500" prstMaterial="matte">
          <a:bevelT w="4445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830" tIns="163830" rIns="163830" bIns="163830" numCol="1" spcCol="1270" anchor="ctr" anchorCtr="0">
          <a:noAutofit/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pPr lvl="0" algn="ctr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4300" b="1" kern="1200" cap="none" spc="0" smtClean="0">
              <a:ln w="1905"/>
              <a:solidFill>
                <a:srgbClr val="003F56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rPr>
            <a:t>UI</a:t>
          </a:r>
          <a:endParaRPr lang="zh-CN" altLang="en-US" sz="4300" b="1" kern="1200" cap="none" spc="0" dirty="0">
            <a:ln w="1905"/>
            <a:solidFill>
              <a:srgbClr val="003F56"/>
            </a:solidFill>
            <a:effectLst>
              <a:innerShdw blurRad="69850" dist="43180" dir="5400000">
                <a:srgbClr val="000000">
                  <a:alpha val="65000"/>
                </a:srgbClr>
              </a:innerShdw>
            </a:effectLst>
          </a:endParaRPr>
        </a:p>
      </dsp:txBody>
      <dsp:txXfrm>
        <a:off x="5751" y="0"/>
        <a:ext cx="2018161" cy="1786144"/>
      </dsp:txXfrm>
    </dsp:sp>
    <dsp:sp modelId="{4227300F-B4FA-4A1E-A838-065E1FA176D9}">
      <dsp:nvSpPr>
        <dsp:cNvPr id="0" name=""/>
        <dsp:cNvSpPr/>
      </dsp:nvSpPr>
      <dsp:spPr>
        <a:xfrm>
          <a:off x="207567" y="1786289"/>
          <a:ext cx="1614528" cy="867344"/>
        </a:xfrm>
        <a:prstGeom prst="roundRect">
          <a:avLst>
            <a:gd name="adj" fmla="val 10000"/>
          </a:avLst>
        </a:prstGeom>
        <a:solidFill>
          <a:schemeClr val="accent4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extrusionH="190500" prstMaterial="matt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/>
            <a:t>验证</a:t>
          </a:r>
          <a:endParaRPr lang="zh-CN" altLang="en-US" sz="1900" kern="1200" dirty="0"/>
        </a:p>
      </dsp:txBody>
      <dsp:txXfrm>
        <a:off x="207567" y="1786289"/>
        <a:ext cx="1614528" cy="867344"/>
      </dsp:txXfrm>
    </dsp:sp>
    <dsp:sp modelId="{7C40DF22-A932-4016-A972-5CB049D63C59}">
      <dsp:nvSpPr>
        <dsp:cNvPr id="0" name=""/>
        <dsp:cNvSpPr/>
      </dsp:nvSpPr>
      <dsp:spPr>
        <a:xfrm>
          <a:off x="207567" y="2787071"/>
          <a:ext cx="1614528" cy="867344"/>
        </a:xfrm>
        <a:prstGeom prst="roundRect">
          <a:avLst>
            <a:gd name="adj" fmla="val 10000"/>
          </a:avLst>
        </a:prstGeom>
        <a:solidFill>
          <a:schemeClr val="accent4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extrusionH="190500" prstMaterial="matt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/>
            <a:t>母版样式</a:t>
          </a:r>
          <a:endParaRPr lang="zh-CN" altLang="en-US" sz="1900" kern="1200" dirty="0"/>
        </a:p>
      </dsp:txBody>
      <dsp:txXfrm>
        <a:off x="207567" y="2787071"/>
        <a:ext cx="1614528" cy="867344"/>
      </dsp:txXfrm>
    </dsp:sp>
    <dsp:sp modelId="{69BBA67D-A899-4F38-875D-3D3F29C8B498}">
      <dsp:nvSpPr>
        <dsp:cNvPr id="0" name=""/>
        <dsp:cNvSpPr/>
      </dsp:nvSpPr>
      <dsp:spPr>
        <a:xfrm>
          <a:off x="207567" y="3787853"/>
          <a:ext cx="1614528" cy="867344"/>
        </a:xfrm>
        <a:prstGeom prst="roundRect">
          <a:avLst>
            <a:gd name="adj" fmla="val 10000"/>
          </a:avLst>
        </a:prstGeom>
        <a:solidFill>
          <a:schemeClr val="accent4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extrusionH="190500" prstMaterial="matt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/>
            <a:t>报表</a:t>
          </a:r>
          <a:endParaRPr lang="zh-CN" altLang="en-US" sz="1900" kern="1200" dirty="0"/>
        </a:p>
      </dsp:txBody>
      <dsp:txXfrm>
        <a:off x="207567" y="3787853"/>
        <a:ext cx="1614528" cy="867344"/>
      </dsp:txXfrm>
    </dsp:sp>
    <dsp:sp modelId="{D516759E-99C0-4473-9E04-EBFB7926DA71}">
      <dsp:nvSpPr>
        <dsp:cNvPr id="0" name=""/>
        <dsp:cNvSpPr/>
      </dsp:nvSpPr>
      <dsp:spPr>
        <a:xfrm>
          <a:off x="207567" y="4788634"/>
          <a:ext cx="1614528" cy="867344"/>
        </a:xfrm>
        <a:prstGeom prst="roundRect">
          <a:avLst>
            <a:gd name="adj" fmla="val 10000"/>
          </a:avLst>
        </a:prstGeom>
        <a:solidFill>
          <a:schemeClr val="accent4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extrusionH="190500" prstMaterial="matt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900" kern="1200" dirty="0" smtClean="0"/>
            <a:t>jQuery</a:t>
          </a:r>
          <a:r>
            <a:rPr lang="zh-CN" altLang="en-US" sz="1900" kern="1200" dirty="0" smtClean="0"/>
            <a:t>插件（表格，时间）</a:t>
          </a:r>
          <a:endParaRPr lang="zh-CN" altLang="en-US" sz="1900" kern="1200" dirty="0"/>
        </a:p>
      </dsp:txBody>
      <dsp:txXfrm>
        <a:off x="207567" y="4788634"/>
        <a:ext cx="1614528" cy="867344"/>
      </dsp:txXfrm>
    </dsp:sp>
    <dsp:sp modelId="{D67617ED-4E7D-4ED2-A4D5-B39643A02074}">
      <dsp:nvSpPr>
        <dsp:cNvPr id="0" name=""/>
        <dsp:cNvSpPr/>
      </dsp:nvSpPr>
      <dsp:spPr>
        <a:xfrm>
          <a:off x="2175274" y="0"/>
          <a:ext cx="2018161" cy="5953814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z="-152400" extrusionH="63500" prstMaterial="matte">
          <a:bevelT w="4445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830" tIns="163830" rIns="163830" bIns="163830" numCol="1" spcCol="1270" anchor="ctr" anchorCtr="0">
          <a:noAutofit/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pPr lvl="0" algn="ctr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4300" b="1" kern="1200" cap="none" spc="50" dirty="0" smtClean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rPr>
            <a:t>应用层</a:t>
          </a:r>
          <a:endParaRPr lang="zh-CN" altLang="en-US" sz="4300" b="1" kern="1200" cap="none" spc="50" dirty="0">
            <a:ln w="11430"/>
            <a:solidFill>
              <a:srgbClr val="003F56"/>
            </a:soli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sp:txBody>
      <dsp:txXfrm>
        <a:off x="2175274" y="0"/>
        <a:ext cx="2018161" cy="1786144"/>
      </dsp:txXfrm>
    </dsp:sp>
    <dsp:sp modelId="{CF2ED777-3D35-409B-950B-C73556731C07}">
      <dsp:nvSpPr>
        <dsp:cNvPr id="0" name=""/>
        <dsp:cNvSpPr/>
      </dsp:nvSpPr>
      <dsp:spPr>
        <a:xfrm>
          <a:off x="2377090" y="1786289"/>
          <a:ext cx="1614528" cy="867344"/>
        </a:xfrm>
        <a:prstGeom prst="roundRect">
          <a:avLst>
            <a:gd name="adj" fmla="val 10000"/>
          </a:avLst>
        </a:prstGeom>
        <a:solidFill>
          <a:srgbClr val="00B05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extrusionH="190500" prstMaterial="matt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900" kern="1200" dirty="0" smtClean="0"/>
            <a:t>Mvc</a:t>
          </a:r>
          <a:endParaRPr lang="zh-CN" altLang="en-US" sz="1900" kern="1200" dirty="0"/>
        </a:p>
      </dsp:txBody>
      <dsp:txXfrm>
        <a:off x="2377090" y="1786289"/>
        <a:ext cx="1614528" cy="867344"/>
      </dsp:txXfrm>
    </dsp:sp>
    <dsp:sp modelId="{FA58FFE1-4028-4798-AEAB-C0F253AE4CAF}">
      <dsp:nvSpPr>
        <dsp:cNvPr id="0" name=""/>
        <dsp:cNvSpPr/>
      </dsp:nvSpPr>
      <dsp:spPr>
        <a:xfrm>
          <a:off x="2377090" y="2787071"/>
          <a:ext cx="1614528" cy="867344"/>
        </a:xfrm>
        <a:prstGeom prst="roundRect">
          <a:avLst>
            <a:gd name="adj" fmla="val 10000"/>
          </a:avLst>
        </a:prstGeom>
        <a:solidFill>
          <a:srgbClr val="00B05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extrusionH="190500" prstMaterial="matt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/>
            <a:t>数据转换</a:t>
          </a:r>
          <a:endParaRPr lang="zh-CN" altLang="en-US" sz="1900" kern="1200" dirty="0"/>
        </a:p>
      </dsp:txBody>
      <dsp:txXfrm>
        <a:off x="2377090" y="2787071"/>
        <a:ext cx="1614528" cy="867344"/>
      </dsp:txXfrm>
    </dsp:sp>
    <dsp:sp modelId="{B42F3274-8BC4-4F83-B85C-ECADE56D2788}">
      <dsp:nvSpPr>
        <dsp:cNvPr id="0" name=""/>
        <dsp:cNvSpPr/>
      </dsp:nvSpPr>
      <dsp:spPr>
        <a:xfrm>
          <a:off x="2377090" y="3787853"/>
          <a:ext cx="1614528" cy="867344"/>
        </a:xfrm>
        <a:prstGeom prst="roundRect">
          <a:avLst>
            <a:gd name="adj" fmla="val 10000"/>
          </a:avLst>
        </a:prstGeom>
        <a:solidFill>
          <a:srgbClr val="00B05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extrusionH="190500" prstMaterial="matt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/>
            <a:t>上传下</a:t>
          </a:r>
          <a:r>
            <a:rPr lang="zh-CN" altLang="en-US" sz="1900" kern="1200" dirty="0" smtClean="0"/>
            <a:t>载</a:t>
          </a:r>
          <a:endParaRPr lang="zh-CN" altLang="en-US" sz="1900" kern="1200" dirty="0"/>
        </a:p>
      </dsp:txBody>
      <dsp:txXfrm>
        <a:off x="2377090" y="3787853"/>
        <a:ext cx="1614528" cy="867344"/>
      </dsp:txXfrm>
    </dsp:sp>
    <dsp:sp modelId="{2B6ADAD7-568C-4B96-AF54-8B928C072719}">
      <dsp:nvSpPr>
        <dsp:cNvPr id="0" name=""/>
        <dsp:cNvSpPr/>
      </dsp:nvSpPr>
      <dsp:spPr>
        <a:xfrm>
          <a:off x="2377090" y="4788634"/>
          <a:ext cx="1614528" cy="867344"/>
        </a:xfrm>
        <a:prstGeom prst="roundRect">
          <a:avLst>
            <a:gd name="adj" fmla="val 10000"/>
          </a:avLst>
        </a:prstGeom>
        <a:solidFill>
          <a:srgbClr val="00B05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extrusionH="190500" prstMaterial="matt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/>
            <a:t>异常捕获</a:t>
          </a:r>
          <a:endParaRPr lang="zh-CN" altLang="en-US" sz="1900" kern="1200" dirty="0"/>
        </a:p>
      </dsp:txBody>
      <dsp:txXfrm>
        <a:off x="2377090" y="4788634"/>
        <a:ext cx="1614528" cy="867344"/>
      </dsp:txXfrm>
    </dsp:sp>
    <dsp:sp modelId="{1E561759-9202-4C78-9520-F81139133FEC}">
      <dsp:nvSpPr>
        <dsp:cNvPr id="0" name=""/>
        <dsp:cNvSpPr/>
      </dsp:nvSpPr>
      <dsp:spPr>
        <a:xfrm>
          <a:off x="4344797" y="0"/>
          <a:ext cx="2018161" cy="5953814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z="-152400" extrusionH="63500" prstMaterial="matte">
          <a:bevelT w="4445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830" tIns="163830" rIns="163830" bIns="163830" numCol="1" spcCol="1270" anchor="ctr" anchorCtr="0">
          <a:noAutofit/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pPr lvl="0" algn="ctr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4300" b="1" kern="1200" cap="none" spc="50" smtClean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rPr>
            <a:t>业务层</a:t>
          </a:r>
          <a:endParaRPr lang="zh-CN" altLang="en-US" sz="4300" b="1" kern="1200" cap="none" spc="50" dirty="0">
            <a:ln w="11430"/>
            <a:solidFill>
              <a:srgbClr val="003F56"/>
            </a:soli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sp:txBody>
      <dsp:txXfrm>
        <a:off x="4344797" y="0"/>
        <a:ext cx="2018161" cy="1786144"/>
      </dsp:txXfrm>
    </dsp:sp>
    <dsp:sp modelId="{922FE75F-42BA-4D2C-912E-225D726991B8}">
      <dsp:nvSpPr>
        <dsp:cNvPr id="0" name=""/>
        <dsp:cNvSpPr/>
      </dsp:nvSpPr>
      <dsp:spPr>
        <a:xfrm>
          <a:off x="4546614" y="1787271"/>
          <a:ext cx="1614528" cy="688773"/>
        </a:xfrm>
        <a:prstGeom prst="roundRect">
          <a:avLst>
            <a:gd name="adj" fmla="val 10000"/>
          </a:avLst>
        </a:prstGeom>
        <a:solidFill>
          <a:srgbClr val="00206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extrusionH="190500" prstMaterial="matt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/>
            <a:t>工作流</a:t>
          </a:r>
          <a:endParaRPr lang="zh-CN" altLang="en-US" sz="1900" kern="1200" dirty="0"/>
        </a:p>
      </dsp:txBody>
      <dsp:txXfrm>
        <a:off x="4546614" y="1787271"/>
        <a:ext cx="1614528" cy="688773"/>
      </dsp:txXfrm>
    </dsp:sp>
    <dsp:sp modelId="{0BA0A7C3-426E-444B-A0B1-038F6133DDB4}">
      <dsp:nvSpPr>
        <dsp:cNvPr id="0" name=""/>
        <dsp:cNvSpPr/>
      </dsp:nvSpPr>
      <dsp:spPr>
        <a:xfrm>
          <a:off x="4546614" y="2582009"/>
          <a:ext cx="1614528" cy="688773"/>
        </a:xfrm>
        <a:prstGeom prst="roundRect">
          <a:avLst>
            <a:gd name="adj" fmla="val 10000"/>
          </a:avLst>
        </a:prstGeom>
        <a:solidFill>
          <a:srgbClr val="00206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extrusionH="190500" prstMaterial="matt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/>
            <a:t>登录</a:t>
          </a:r>
          <a:r>
            <a:rPr lang="en-US" altLang="zh-CN" sz="1900" kern="1200" dirty="0" smtClean="0"/>
            <a:t>SSO</a:t>
          </a:r>
          <a:endParaRPr lang="zh-CN" altLang="en-US" sz="1900" kern="1200" dirty="0"/>
        </a:p>
      </dsp:txBody>
      <dsp:txXfrm>
        <a:off x="4546614" y="2582009"/>
        <a:ext cx="1614528" cy="688773"/>
      </dsp:txXfrm>
    </dsp:sp>
    <dsp:sp modelId="{2356D871-C0A1-44F2-B643-68AA4DE2DE04}">
      <dsp:nvSpPr>
        <dsp:cNvPr id="0" name=""/>
        <dsp:cNvSpPr/>
      </dsp:nvSpPr>
      <dsp:spPr>
        <a:xfrm>
          <a:off x="4546614" y="3376747"/>
          <a:ext cx="1614528" cy="688773"/>
        </a:xfrm>
        <a:prstGeom prst="roundRect">
          <a:avLst>
            <a:gd name="adj" fmla="val 10000"/>
          </a:avLst>
        </a:prstGeom>
        <a:solidFill>
          <a:srgbClr val="00206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extrusionH="190500" prstMaterial="matt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/>
            <a:t>权限控制</a:t>
          </a:r>
          <a:endParaRPr lang="zh-CN" altLang="en-US" sz="1900" kern="1200" dirty="0"/>
        </a:p>
      </dsp:txBody>
      <dsp:txXfrm>
        <a:off x="4546614" y="3376747"/>
        <a:ext cx="1614528" cy="688773"/>
      </dsp:txXfrm>
    </dsp:sp>
    <dsp:sp modelId="{0EB5FF0C-0E08-47FE-AAA6-C0A020B9169E}">
      <dsp:nvSpPr>
        <dsp:cNvPr id="0" name=""/>
        <dsp:cNvSpPr/>
      </dsp:nvSpPr>
      <dsp:spPr>
        <a:xfrm>
          <a:off x="4546614" y="4171486"/>
          <a:ext cx="1614528" cy="688773"/>
        </a:xfrm>
        <a:prstGeom prst="roundRect">
          <a:avLst>
            <a:gd name="adj" fmla="val 10000"/>
          </a:avLst>
        </a:prstGeom>
        <a:solidFill>
          <a:srgbClr val="00206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extrusionH="190500" prstMaterial="matt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/>
            <a:t>数据导出</a:t>
          </a:r>
          <a:endParaRPr lang="zh-CN" altLang="en-US" sz="1900" kern="1200" dirty="0"/>
        </a:p>
      </dsp:txBody>
      <dsp:txXfrm>
        <a:off x="4546614" y="4171486"/>
        <a:ext cx="1614528" cy="688773"/>
      </dsp:txXfrm>
    </dsp:sp>
    <dsp:sp modelId="{13E31844-FA3A-4C88-9936-9C4CE2B1BED7}">
      <dsp:nvSpPr>
        <dsp:cNvPr id="0" name=""/>
        <dsp:cNvSpPr/>
      </dsp:nvSpPr>
      <dsp:spPr>
        <a:xfrm>
          <a:off x="4546614" y="4966224"/>
          <a:ext cx="1614528" cy="688773"/>
        </a:xfrm>
        <a:prstGeom prst="roundRect">
          <a:avLst>
            <a:gd name="adj" fmla="val 10000"/>
          </a:avLst>
        </a:prstGeom>
        <a:solidFill>
          <a:srgbClr val="00206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extrusionH="190500" prstMaterial="matt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/>
            <a:t>消息通知</a:t>
          </a:r>
          <a:endParaRPr lang="zh-CN" altLang="en-US" sz="1900" kern="1200" dirty="0"/>
        </a:p>
      </dsp:txBody>
      <dsp:txXfrm>
        <a:off x="4546614" y="4966224"/>
        <a:ext cx="1614528" cy="688773"/>
      </dsp:txXfrm>
    </dsp:sp>
    <dsp:sp modelId="{6C1511B2-E477-430F-BBAB-03CD142CC82F}">
      <dsp:nvSpPr>
        <dsp:cNvPr id="0" name=""/>
        <dsp:cNvSpPr/>
      </dsp:nvSpPr>
      <dsp:spPr>
        <a:xfrm>
          <a:off x="6514321" y="0"/>
          <a:ext cx="2018161" cy="5953814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z="-152400" extrusionH="63500" prstMaterial="matte">
          <a:bevelT w="4445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830" tIns="163830" rIns="163830" bIns="163830" numCol="1" spcCol="1270" anchor="ctr" anchorCtr="0">
          <a:noAutofit/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pPr lvl="0" algn="ctr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4300" b="1" kern="1200" cap="none" spc="50" dirty="0" smtClean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rPr>
            <a:t>实体层</a:t>
          </a:r>
          <a:endParaRPr lang="zh-CN" altLang="en-US" sz="4300" b="1" kern="1200" cap="none" spc="50" dirty="0">
            <a:ln w="11430"/>
            <a:solidFill>
              <a:srgbClr val="003F56"/>
            </a:soli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sp:txBody>
      <dsp:txXfrm>
        <a:off x="6514321" y="0"/>
        <a:ext cx="2018161" cy="1786144"/>
      </dsp:txXfrm>
    </dsp:sp>
    <dsp:sp modelId="{7F54F5FC-123A-428B-876B-2C2F9BDC5CA2}">
      <dsp:nvSpPr>
        <dsp:cNvPr id="0" name=""/>
        <dsp:cNvSpPr/>
      </dsp:nvSpPr>
      <dsp:spPr>
        <a:xfrm>
          <a:off x="6716137" y="1786289"/>
          <a:ext cx="1614528" cy="867344"/>
        </a:xfrm>
        <a:prstGeom prst="roundRect">
          <a:avLst>
            <a:gd name="adj" fmla="val 10000"/>
          </a:avLst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extrusionH="190500" prstMaterial="matt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900" kern="1200" dirty="0" smtClean="0"/>
            <a:t>ORM</a:t>
          </a:r>
          <a:endParaRPr lang="zh-CN" altLang="en-US" sz="1900" kern="1200" dirty="0"/>
        </a:p>
      </dsp:txBody>
      <dsp:txXfrm>
        <a:off x="6716137" y="1786289"/>
        <a:ext cx="1614528" cy="867344"/>
      </dsp:txXfrm>
    </dsp:sp>
    <dsp:sp modelId="{24F08601-EA02-4FE0-8D6E-844B42A9B6A6}">
      <dsp:nvSpPr>
        <dsp:cNvPr id="0" name=""/>
        <dsp:cNvSpPr/>
      </dsp:nvSpPr>
      <dsp:spPr>
        <a:xfrm>
          <a:off x="6716137" y="2787071"/>
          <a:ext cx="1614528" cy="867344"/>
        </a:xfrm>
        <a:prstGeom prst="roundRect">
          <a:avLst>
            <a:gd name="adj" fmla="val 10000"/>
          </a:avLst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extrusionH="190500" prstMaterial="matt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/>
            <a:t>枚举定义</a:t>
          </a:r>
          <a:endParaRPr lang="zh-CN" altLang="en-US" sz="1900" kern="1200" dirty="0"/>
        </a:p>
      </dsp:txBody>
      <dsp:txXfrm>
        <a:off x="6716137" y="2787071"/>
        <a:ext cx="1614528" cy="867344"/>
      </dsp:txXfrm>
    </dsp:sp>
    <dsp:sp modelId="{EDFA31EE-A8F0-4D99-A41E-F4425F02E585}">
      <dsp:nvSpPr>
        <dsp:cNvPr id="0" name=""/>
        <dsp:cNvSpPr/>
      </dsp:nvSpPr>
      <dsp:spPr>
        <a:xfrm>
          <a:off x="6716137" y="3787853"/>
          <a:ext cx="1614528" cy="867344"/>
        </a:xfrm>
        <a:prstGeom prst="roundRect">
          <a:avLst>
            <a:gd name="adj" fmla="val 10000"/>
          </a:avLst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extrusionH="190500" prstMaterial="matt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/>
            <a:t>实体定义</a:t>
          </a:r>
          <a:endParaRPr lang="zh-CN" altLang="en-US" sz="1900" kern="1200" dirty="0"/>
        </a:p>
      </dsp:txBody>
      <dsp:txXfrm>
        <a:off x="6716137" y="3787853"/>
        <a:ext cx="1614528" cy="867344"/>
      </dsp:txXfrm>
    </dsp:sp>
    <dsp:sp modelId="{BFB5D038-007F-4C64-BA66-CC0A5203E0BC}">
      <dsp:nvSpPr>
        <dsp:cNvPr id="0" name=""/>
        <dsp:cNvSpPr/>
      </dsp:nvSpPr>
      <dsp:spPr>
        <a:xfrm>
          <a:off x="6716137" y="4788634"/>
          <a:ext cx="1614528" cy="867344"/>
        </a:xfrm>
        <a:prstGeom prst="roundRect">
          <a:avLst>
            <a:gd name="adj" fmla="val 10000"/>
          </a:avLst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extrusionH="190500" prstMaterial="matt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/>
            <a:t>编码规则</a:t>
          </a:r>
          <a:endParaRPr lang="zh-CN" altLang="en-US" sz="1900" kern="1200" dirty="0"/>
        </a:p>
      </dsp:txBody>
      <dsp:txXfrm>
        <a:off x="6716137" y="4788634"/>
        <a:ext cx="1614528" cy="867344"/>
      </dsp:txXfrm>
    </dsp:sp>
    <dsp:sp modelId="{707BDABC-6D52-4DB5-992D-E1A19007B554}">
      <dsp:nvSpPr>
        <dsp:cNvPr id="0" name=""/>
        <dsp:cNvSpPr/>
      </dsp:nvSpPr>
      <dsp:spPr>
        <a:xfrm>
          <a:off x="8688728" y="0"/>
          <a:ext cx="2018161" cy="5953814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z="-152400" extrusionH="63500" prstMaterial="matte">
          <a:bevelT w="4445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830" tIns="163830" rIns="163830" bIns="163830" numCol="1" spcCol="1270" anchor="ctr" anchorCtr="0">
          <a:noAutofit/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pPr lvl="0" algn="ctr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4300" b="1" kern="1200" cap="none" spc="50" smtClean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rPr>
            <a:t>资源层</a:t>
          </a:r>
          <a:endParaRPr lang="zh-CN" altLang="en-US" sz="4300" b="1" kern="1200" cap="none" spc="50" dirty="0">
            <a:ln w="11430"/>
            <a:solidFill>
              <a:srgbClr val="003F56"/>
            </a:soli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sp:txBody>
      <dsp:txXfrm>
        <a:off x="8688728" y="0"/>
        <a:ext cx="2018161" cy="1786144"/>
      </dsp:txXfrm>
    </dsp:sp>
    <dsp:sp modelId="{B0EEF80F-092C-4AD1-97FB-9AA5E45EE56C}">
      <dsp:nvSpPr>
        <dsp:cNvPr id="0" name=""/>
        <dsp:cNvSpPr/>
      </dsp:nvSpPr>
      <dsp:spPr>
        <a:xfrm>
          <a:off x="8885660" y="1786289"/>
          <a:ext cx="1614528" cy="867344"/>
        </a:xfrm>
        <a:prstGeom prst="roundRect">
          <a:avLst>
            <a:gd name="adj" fmla="val 10000"/>
          </a:avLst>
        </a:prstGeom>
        <a:solidFill>
          <a:srgbClr val="7030A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extrusionH="190500" prstMaterial="matt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/>
            <a:t>数据表</a:t>
          </a:r>
          <a:endParaRPr lang="zh-CN" altLang="en-US" sz="1900" kern="1200" dirty="0"/>
        </a:p>
      </dsp:txBody>
      <dsp:txXfrm>
        <a:off x="8885660" y="1786289"/>
        <a:ext cx="1614528" cy="867344"/>
      </dsp:txXfrm>
    </dsp:sp>
    <dsp:sp modelId="{DD4EAF2D-1F22-4692-AACE-72747D91F744}">
      <dsp:nvSpPr>
        <dsp:cNvPr id="0" name=""/>
        <dsp:cNvSpPr/>
      </dsp:nvSpPr>
      <dsp:spPr>
        <a:xfrm>
          <a:off x="8885660" y="2787071"/>
          <a:ext cx="1614528" cy="867344"/>
        </a:xfrm>
        <a:prstGeom prst="roundRect">
          <a:avLst>
            <a:gd name="adj" fmla="val 10000"/>
          </a:avLst>
        </a:prstGeom>
        <a:solidFill>
          <a:srgbClr val="7030A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extrusionH="190500" prstMaterial="matt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/>
            <a:t>视图</a:t>
          </a:r>
          <a:endParaRPr lang="zh-CN" altLang="en-US" sz="1900" kern="1200" dirty="0"/>
        </a:p>
      </dsp:txBody>
      <dsp:txXfrm>
        <a:off x="8885660" y="2787071"/>
        <a:ext cx="1614528" cy="867344"/>
      </dsp:txXfrm>
    </dsp:sp>
    <dsp:sp modelId="{0B7DDE8B-9E99-48AE-878E-A61AC793D8A6}">
      <dsp:nvSpPr>
        <dsp:cNvPr id="0" name=""/>
        <dsp:cNvSpPr/>
      </dsp:nvSpPr>
      <dsp:spPr>
        <a:xfrm>
          <a:off x="8885660" y="3787853"/>
          <a:ext cx="1614528" cy="867344"/>
        </a:xfrm>
        <a:prstGeom prst="roundRect">
          <a:avLst>
            <a:gd name="adj" fmla="val 10000"/>
          </a:avLst>
        </a:prstGeom>
        <a:solidFill>
          <a:srgbClr val="7030A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extrusionH="190500" prstMaterial="matt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/>
            <a:t>接口</a:t>
          </a:r>
          <a:endParaRPr lang="zh-CN" altLang="en-US" sz="1900" kern="1200" dirty="0"/>
        </a:p>
      </dsp:txBody>
      <dsp:txXfrm>
        <a:off x="8885660" y="3787853"/>
        <a:ext cx="1614528" cy="867344"/>
      </dsp:txXfrm>
    </dsp:sp>
    <dsp:sp modelId="{4AEE5089-FB8A-43AC-BF40-804E920A77D7}">
      <dsp:nvSpPr>
        <dsp:cNvPr id="0" name=""/>
        <dsp:cNvSpPr/>
      </dsp:nvSpPr>
      <dsp:spPr>
        <a:xfrm>
          <a:off x="8885660" y="4788634"/>
          <a:ext cx="1614528" cy="867344"/>
        </a:xfrm>
        <a:prstGeom prst="roundRect">
          <a:avLst>
            <a:gd name="adj" fmla="val 10000"/>
          </a:avLst>
        </a:prstGeom>
        <a:solidFill>
          <a:srgbClr val="7030A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perspectiveHeroicExtremeRightFacing" fov="1800000" zoom="82000">
            <a:rot lat="21038515" lon="20431109" rev="180000"/>
          </a:camera>
          <a:lightRig rig="morning" dir="t">
            <a:rot lat="0" lon="0" rev="20400000"/>
          </a:lightRig>
        </a:scene3d>
        <a:sp3d extrusionH="190500" prstMaterial="matt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900" kern="1200" dirty="0" smtClean="0"/>
            <a:t>缓存数据</a:t>
          </a:r>
          <a:endParaRPr lang="zh-CN" altLang="en-US" sz="1900" kern="1200" dirty="0"/>
        </a:p>
      </dsp:txBody>
      <dsp:txXfrm>
        <a:off x="8885660" y="4788634"/>
        <a:ext cx="1614528" cy="867344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87DA92E-9BC3-4EE2-8CEF-99FB70C76E52}">
      <dsp:nvSpPr>
        <dsp:cNvPr id="0" name=""/>
        <dsp:cNvSpPr/>
      </dsp:nvSpPr>
      <dsp:spPr>
        <a:xfrm>
          <a:off x="3050830" y="0"/>
          <a:ext cx="1004510" cy="66967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 smtClean="0"/>
            <a:t>业务系统</a:t>
          </a:r>
          <a:endParaRPr lang="zh-CN" altLang="en-US" sz="1600" kern="1200" dirty="0"/>
        </a:p>
      </dsp:txBody>
      <dsp:txXfrm>
        <a:off x="3050830" y="0"/>
        <a:ext cx="1004510" cy="669673"/>
      </dsp:txXfrm>
    </dsp:sp>
    <dsp:sp modelId="{0D5B0913-A451-47B0-AD16-7332F1142CFD}">
      <dsp:nvSpPr>
        <dsp:cNvPr id="0" name=""/>
        <dsp:cNvSpPr/>
      </dsp:nvSpPr>
      <dsp:spPr>
        <a:xfrm>
          <a:off x="941359" y="669673"/>
          <a:ext cx="2611726" cy="268410"/>
        </a:xfrm>
        <a:custGeom>
          <a:avLst/>
          <a:gdLst/>
          <a:ahLst/>
          <a:cxnLst/>
          <a:rect l="0" t="0" r="0" b="0"/>
          <a:pathLst>
            <a:path>
              <a:moveTo>
                <a:pt x="2611726" y="0"/>
              </a:moveTo>
              <a:lnTo>
                <a:pt x="2611726" y="134205"/>
              </a:lnTo>
              <a:lnTo>
                <a:pt x="0" y="134205"/>
              </a:lnTo>
              <a:lnTo>
                <a:pt x="0" y="268410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1BF2C04-8DD5-4913-9BFE-2873951E5ACF}">
      <dsp:nvSpPr>
        <dsp:cNvPr id="0" name=""/>
        <dsp:cNvSpPr/>
      </dsp:nvSpPr>
      <dsp:spPr>
        <a:xfrm>
          <a:off x="439104" y="938084"/>
          <a:ext cx="1004510" cy="66967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 smtClean="0"/>
            <a:t>系统管理</a:t>
          </a:r>
          <a:endParaRPr lang="zh-CN" altLang="en-US" sz="1600" kern="1200" dirty="0"/>
        </a:p>
      </dsp:txBody>
      <dsp:txXfrm>
        <a:off x="439104" y="938084"/>
        <a:ext cx="1004510" cy="669673"/>
      </dsp:txXfrm>
    </dsp:sp>
    <dsp:sp modelId="{54F7537A-F5C9-4EB1-B3ED-A173A89F50DD}">
      <dsp:nvSpPr>
        <dsp:cNvPr id="0" name=""/>
        <dsp:cNvSpPr/>
      </dsp:nvSpPr>
      <dsp:spPr>
        <a:xfrm>
          <a:off x="2247222" y="669673"/>
          <a:ext cx="1305863" cy="268410"/>
        </a:xfrm>
        <a:custGeom>
          <a:avLst/>
          <a:gdLst/>
          <a:ahLst/>
          <a:cxnLst/>
          <a:rect l="0" t="0" r="0" b="0"/>
          <a:pathLst>
            <a:path>
              <a:moveTo>
                <a:pt x="1305863" y="0"/>
              </a:moveTo>
              <a:lnTo>
                <a:pt x="1305863" y="134205"/>
              </a:lnTo>
              <a:lnTo>
                <a:pt x="0" y="134205"/>
              </a:lnTo>
              <a:lnTo>
                <a:pt x="0" y="268410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16E0FAA-F683-4BB3-AD62-CB481686BF8C}">
      <dsp:nvSpPr>
        <dsp:cNvPr id="0" name=""/>
        <dsp:cNvSpPr/>
      </dsp:nvSpPr>
      <dsp:spPr>
        <a:xfrm>
          <a:off x="1744967" y="938084"/>
          <a:ext cx="1004510" cy="66967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 smtClean="0"/>
            <a:t>业务管理</a:t>
          </a:r>
          <a:endParaRPr lang="zh-CN" altLang="en-US" sz="1600" kern="1200" dirty="0"/>
        </a:p>
      </dsp:txBody>
      <dsp:txXfrm>
        <a:off x="1744967" y="938084"/>
        <a:ext cx="1004510" cy="669673"/>
      </dsp:txXfrm>
    </dsp:sp>
    <dsp:sp modelId="{486BD69D-DB76-4348-857C-85BA943C0BFD}">
      <dsp:nvSpPr>
        <dsp:cNvPr id="0" name=""/>
        <dsp:cNvSpPr/>
      </dsp:nvSpPr>
      <dsp:spPr>
        <a:xfrm>
          <a:off x="3507365" y="669673"/>
          <a:ext cx="91440" cy="26841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68410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C27165-7AA1-4745-BC50-A0C5CBC58BFD}">
      <dsp:nvSpPr>
        <dsp:cNvPr id="0" name=""/>
        <dsp:cNvSpPr/>
      </dsp:nvSpPr>
      <dsp:spPr>
        <a:xfrm>
          <a:off x="3050830" y="938084"/>
          <a:ext cx="1004510" cy="66967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 smtClean="0"/>
            <a:t>报表</a:t>
          </a:r>
          <a:endParaRPr lang="zh-CN" altLang="en-US" sz="1600" kern="1200" dirty="0"/>
        </a:p>
      </dsp:txBody>
      <dsp:txXfrm>
        <a:off x="3050830" y="938084"/>
        <a:ext cx="1004510" cy="669673"/>
      </dsp:txXfrm>
    </dsp:sp>
    <dsp:sp modelId="{4E30E52B-995F-408E-BDFE-006C4A2B45D3}">
      <dsp:nvSpPr>
        <dsp:cNvPr id="0" name=""/>
        <dsp:cNvSpPr/>
      </dsp:nvSpPr>
      <dsp:spPr>
        <a:xfrm>
          <a:off x="3553085" y="669673"/>
          <a:ext cx="1305863" cy="2684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4205"/>
              </a:lnTo>
              <a:lnTo>
                <a:pt x="1305863" y="134205"/>
              </a:lnTo>
              <a:lnTo>
                <a:pt x="1305863" y="268410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762BC71-82E7-431C-A6B8-BFF850F234FA}">
      <dsp:nvSpPr>
        <dsp:cNvPr id="0" name=""/>
        <dsp:cNvSpPr/>
      </dsp:nvSpPr>
      <dsp:spPr>
        <a:xfrm>
          <a:off x="4356693" y="938084"/>
          <a:ext cx="1004510" cy="66967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 smtClean="0"/>
            <a:t>接口服务</a:t>
          </a:r>
          <a:endParaRPr lang="zh-CN" altLang="en-US" sz="1600" kern="1200" dirty="0"/>
        </a:p>
      </dsp:txBody>
      <dsp:txXfrm>
        <a:off x="4356693" y="938084"/>
        <a:ext cx="1004510" cy="669673"/>
      </dsp:txXfrm>
    </dsp:sp>
    <dsp:sp modelId="{8423AA3A-46D4-437B-814E-6CDF67F8AFDB}">
      <dsp:nvSpPr>
        <dsp:cNvPr id="0" name=""/>
        <dsp:cNvSpPr/>
      </dsp:nvSpPr>
      <dsp:spPr>
        <a:xfrm>
          <a:off x="3553085" y="669673"/>
          <a:ext cx="2611726" cy="2684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4205"/>
              </a:lnTo>
              <a:lnTo>
                <a:pt x="2611726" y="134205"/>
              </a:lnTo>
              <a:lnTo>
                <a:pt x="2611726" y="268410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A2AB61-9BDB-4A8C-BE84-C48EB33F8558}">
      <dsp:nvSpPr>
        <dsp:cNvPr id="0" name=""/>
        <dsp:cNvSpPr/>
      </dsp:nvSpPr>
      <dsp:spPr>
        <a:xfrm>
          <a:off x="5662556" y="938084"/>
          <a:ext cx="1004510" cy="66967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 smtClean="0"/>
            <a:t>门户</a:t>
          </a:r>
          <a:endParaRPr lang="zh-CN" altLang="en-US" sz="1600" kern="1200" dirty="0"/>
        </a:p>
      </dsp:txBody>
      <dsp:txXfrm>
        <a:off x="5662556" y="938084"/>
        <a:ext cx="1004510" cy="669673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87DA92E-9BC3-4EE2-8CEF-99FB70C76E52}">
      <dsp:nvSpPr>
        <dsp:cNvPr id="0" name=""/>
        <dsp:cNvSpPr/>
      </dsp:nvSpPr>
      <dsp:spPr>
        <a:xfrm>
          <a:off x="2645083" y="0"/>
          <a:ext cx="1816003" cy="66967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500" kern="1200" dirty="0" smtClean="0"/>
            <a:t>业务系统</a:t>
          </a:r>
          <a:endParaRPr lang="zh-CN" altLang="en-US" sz="1500" kern="1200" dirty="0"/>
        </a:p>
      </dsp:txBody>
      <dsp:txXfrm>
        <a:off x="2645083" y="0"/>
        <a:ext cx="1816003" cy="669673"/>
      </dsp:txXfrm>
    </dsp:sp>
    <dsp:sp modelId="{0D5B0913-A451-47B0-AD16-7332F1142CFD}">
      <dsp:nvSpPr>
        <dsp:cNvPr id="0" name=""/>
        <dsp:cNvSpPr/>
      </dsp:nvSpPr>
      <dsp:spPr>
        <a:xfrm>
          <a:off x="941359" y="669673"/>
          <a:ext cx="2611726" cy="268410"/>
        </a:xfrm>
        <a:custGeom>
          <a:avLst/>
          <a:gdLst/>
          <a:ahLst/>
          <a:cxnLst/>
          <a:rect l="0" t="0" r="0" b="0"/>
          <a:pathLst>
            <a:path>
              <a:moveTo>
                <a:pt x="2611726" y="0"/>
              </a:moveTo>
              <a:lnTo>
                <a:pt x="2611726" y="134205"/>
              </a:lnTo>
              <a:lnTo>
                <a:pt x="0" y="134205"/>
              </a:lnTo>
              <a:lnTo>
                <a:pt x="0" y="26841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1BF2C04-8DD5-4913-9BFE-2873951E5ACF}">
      <dsp:nvSpPr>
        <dsp:cNvPr id="0" name=""/>
        <dsp:cNvSpPr/>
      </dsp:nvSpPr>
      <dsp:spPr>
        <a:xfrm>
          <a:off x="439104" y="938084"/>
          <a:ext cx="1004510" cy="66967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500" kern="1200" dirty="0" smtClean="0"/>
            <a:t>用户</a:t>
          </a:r>
          <a:endParaRPr lang="zh-CN" altLang="en-US" sz="1500" kern="1200" dirty="0"/>
        </a:p>
      </dsp:txBody>
      <dsp:txXfrm>
        <a:off x="439104" y="938084"/>
        <a:ext cx="1004510" cy="669673"/>
      </dsp:txXfrm>
    </dsp:sp>
    <dsp:sp modelId="{54F7537A-F5C9-4EB1-B3ED-A173A89F50DD}">
      <dsp:nvSpPr>
        <dsp:cNvPr id="0" name=""/>
        <dsp:cNvSpPr/>
      </dsp:nvSpPr>
      <dsp:spPr>
        <a:xfrm>
          <a:off x="2247222" y="669673"/>
          <a:ext cx="1305863" cy="268410"/>
        </a:xfrm>
        <a:custGeom>
          <a:avLst/>
          <a:gdLst/>
          <a:ahLst/>
          <a:cxnLst/>
          <a:rect l="0" t="0" r="0" b="0"/>
          <a:pathLst>
            <a:path>
              <a:moveTo>
                <a:pt x="1305863" y="0"/>
              </a:moveTo>
              <a:lnTo>
                <a:pt x="1305863" y="134205"/>
              </a:lnTo>
              <a:lnTo>
                <a:pt x="0" y="134205"/>
              </a:lnTo>
              <a:lnTo>
                <a:pt x="0" y="26841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16E0FAA-F683-4BB3-AD62-CB481686BF8C}">
      <dsp:nvSpPr>
        <dsp:cNvPr id="0" name=""/>
        <dsp:cNvSpPr/>
      </dsp:nvSpPr>
      <dsp:spPr>
        <a:xfrm>
          <a:off x="1744967" y="938084"/>
          <a:ext cx="1004510" cy="66967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500" kern="1200" dirty="0" smtClean="0"/>
            <a:t>业务管理</a:t>
          </a:r>
          <a:endParaRPr lang="zh-CN" altLang="en-US" sz="1500" kern="1200" dirty="0"/>
        </a:p>
      </dsp:txBody>
      <dsp:txXfrm>
        <a:off x="1744967" y="938084"/>
        <a:ext cx="1004510" cy="669673"/>
      </dsp:txXfrm>
    </dsp:sp>
    <dsp:sp modelId="{486BD69D-DB76-4348-857C-85BA943C0BFD}">
      <dsp:nvSpPr>
        <dsp:cNvPr id="0" name=""/>
        <dsp:cNvSpPr/>
      </dsp:nvSpPr>
      <dsp:spPr>
        <a:xfrm>
          <a:off x="3507365" y="669673"/>
          <a:ext cx="91440" cy="26841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6841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C27165-7AA1-4745-BC50-A0C5CBC58BFD}">
      <dsp:nvSpPr>
        <dsp:cNvPr id="0" name=""/>
        <dsp:cNvSpPr/>
      </dsp:nvSpPr>
      <dsp:spPr>
        <a:xfrm>
          <a:off x="3050830" y="938084"/>
          <a:ext cx="1004510" cy="66967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500" kern="1200" dirty="0" smtClean="0"/>
            <a:t>常用参数</a:t>
          </a:r>
          <a:endParaRPr lang="zh-CN" altLang="en-US" sz="1500" kern="1200" dirty="0"/>
        </a:p>
      </dsp:txBody>
      <dsp:txXfrm>
        <a:off x="3050830" y="938084"/>
        <a:ext cx="1004510" cy="669673"/>
      </dsp:txXfrm>
    </dsp:sp>
    <dsp:sp modelId="{4E30E52B-995F-408E-BDFE-006C4A2B45D3}">
      <dsp:nvSpPr>
        <dsp:cNvPr id="0" name=""/>
        <dsp:cNvSpPr/>
      </dsp:nvSpPr>
      <dsp:spPr>
        <a:xfrm>
          <a:off x="3553085" y="669673"/>
          <a:ext cx="1305863" cy="2684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4205"/>
              </a:lnTo>
              <a:lnTo>
                <a:pt x="1305863" y="134205"/>
              </a:lnTo>
              <a:lnTo>
                <a:pt x="1305863" y="26841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762BC71-82E7-431C-A6B8-BFF850F234FA}">
      <dsp:nvSpPr>
        <dsp:cNvPr id="0" name=""/>
        <dsp:cNvSpPr/>
      </dsp:nvSpPr>
      <dsp:spPr>
        <a:xfrm>
          <a:off x="4356693" y="938084"/>
          <a:ext cx="1004510" cy="66967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500" kern="1200" dirty="0" smtClean="0"/>
            <a:t>报表</a:t>
          </a:r>
          <a:endParaRPr lang="zh-CN" altLang="en-US" sz="1500" kern="1200" dirty="0"/>
        </a:p>
      </dsp:txBody>
      <dsp:txXfrm>
        <a:off x="4356693" y="938084"/>
        <a:ext cx="1004510" cy="669673"/>
      </dsp:txXfrm>
    </dsp:sp>
    <dsp:sp modelId="{8423AA3A-46D4-437B-814E-6CDF67F8AFDB}">
      <dsp:nvSpPr>
        <dsp:cNvPr id="0" name=""/>
        <dsp:cNvSpPr/>
      </dsp:nvSpPr>
      <dsp:spPr>
        <a:xfrm>
          <a:off x="3553085" y="669673"/>
          <a:ext cx="2611726" cy="2684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4205"/>
              </a:lnTo>
              <a:lnTo>
                <a:pt x="2611726" y="134205"/>
              </a:lnTo>
              <a:lnTo>
                <a:pt x="2611726" y="26841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A2AB61-9BDB-4A8C-BE84-C48EB33F8558}">
      <dsp:nvSpPr>
        <dsp:cNvPr id="0" name=""/>
        <dsp:cNvSpPr/>
      </dsp:nvSpPr>
      <dsp:spPr>
        <a:xfrm>
          <a:off x="5662556" y="938084"/>
          <a:ext cx="1004510" cy="66967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500" kern="1200" dirty="0" smtClean="0"/>
            <a:t>其它系统视图</a:t>
          </a:r>
          <a:endParaRPr lang="zh-CN" altLang="en-US" sz="1500" kern="1200" dirty="0"/>
        </a:p>
      </dsp:txBody>
      <dsp:txXfrm>
        <a:off x="5662556" y="938084"/>
        <a:ext cx="1004510" cy="669673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29F93F9-314E-4EFD-93DB-90B50E8A5DC0}">
      <dsp:nvSpPr>
        <dsp:cNvPr id="0" name=""/>
        <dsp:cNvSpPr/>
      </dsp:nvSpPr>
      <dsp:spPr>
        <a:xfrm>
          <a:off x="227429" y="804709"/>
          <a:ext cx="867406" cy="867406"/>
        </a:xfrm>
        <a:prstGeom prst="ellipse">
          <a:avLst/>
        </a:prstGeom>
        <a:gradFill rotWithShape="0">
          <a:gsLst>
            <a:gs pos="0">
              <a:schemeClr val="accent3">
                <a:alpha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alpha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alpha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tx1"/>
        </a:fontRef>
      </dsp:style>
    </dsp:sp>
    <dsp:sp modelId="{E586EFAF-DA53-476D-A75E-8B1FBE0CFA11}">
      <dsp:nvSpPr>
        <dsp:cNvPr id="0" name=""/>
        <dsp:cNvSpPr/>
      </dsp:nvSpPr>
      <dsp:spPr>
        <a:xfrm>
          <a:off x="661132" y="804709"/>
          <a:ext cx="4627929" cy="8674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55880" rIns="0" bIns="55880" numCol="1" spcCol="1270" anchor="ctr" anchorCtr="0">
          <a:noAutofit/>
          <a:scene3d>
            <a:camera prst="orthographicFront"/>
            <a:lightRig rig="soft" dir="tl">
              <a:rot lat="0" lon="0" rev="0"/>
            </a:lightRig>
          </a:scene3d>
          <a:sp3d contourW="25400" prstMaterial="matte">
            <a:bevelT w="25400" h="55880" prst="artDeco"/>
            <a:contourClr>
              <a:schemeClr val="accent2">
                <a:tint val="20000"/>
              </a:schemeClr>
            </a:contourClr>
          </a:sp3d>
        </a:bodyPr>
        <a:lstStyle/>
        <a:p>
          <a:pPr lvl="0" algn="l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4400" b="1" kern="1200" cap="none" spc="50" dirty="0" smtClean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rPr>
            <a:t>解决方案</a:t>
          </a:r>
          <a:endParaRPr lang="zh-CN" altLang="en-US" sz="4400" b="1" kern="1200" cap="none" spc="50" dirty="0">
            <a:ln w="11430"/>
            <a:solidFill>
              <a:srgbClr val="003F56"/>
            </a:solidFill>
            <a:effectLst>
              <a:outerShdw blurRad="76200" dist="50800" dir="5400000" algn="tl" rotWithShape="0">
                <a:srgbClr val="000000">
                  <a:alpha val="65000"/>
                </a:srgbClr>
              </a:outerShdw>
            </a:effectLst>
          </a:endParaRPr>
        </a:p>
      </dsp:txBody>
      <dsp:txXfrm>
        <a:off x="661132" y="804709"/>
        <a:ext cx="4627929" cy="867406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4#2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hList9">
  <dgm:title val=""/>
  <dgm:desc val=""/>
  <dgm:catLst>
    <dgm:cat type="list" pri="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3" srcId="0" destId="1" srcOrd="0" destOrd="0"/>
        <dgm:cxn modelId="4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2"/>
        <dgm:pt modelId="21"/>
        <dgm:pt modelId="22"/>
        <dgm:pt modelId="23"/>
        <dgm:pt modelId="24"/>
        <dgm:pt modelId="3"/>
        <dgm:pt modelId="31"/>
        <dgm:pt modelId="32"/>
        <dgm:pt modelId="33"/>
        <dgm:pt modelId="34"/>
      </dgm:ptLst>
      <dgm:cxnLst>
        <dgm:cxn modelId="4" srcId="0" destId="1" srcOrd="0" destOrd="0"/>
        <dgm:cxn modelId="5" srcId="0" destId="2" srcOrd="1" destOrd="0"/>
        <dgm:cxn modelId="6" srcId="0" destId="3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18" srcId="1" destId="14" srcOrd="0" destOrd="0"/>
        <dgm:cxn modelId="25" srcId="2" destId="21" srcOrd="0" destOrd="0"/>
        <dgm:cxn modelId="26" srcId="2" destId="22" srcOrd="0" destOrd="0"/>
        <dgm:cxn modelId="27" srcId="2" destId="23" srcOrd="0" destOrd="0"/>
        <dgm:cxn modelId="28" srcId="2" destId="24" srcOrd="0" destOrd="0"/>
        <dgm:cxn modelId="35" srcId="3" destId="31" srcOrd="0" destOrd="0"/>
        <dgm:cxn modelId="36" srcId="3" destId="32" srcOrd="0" destOrd="0"/>
        <dgm:cxn modelId="37" srcId="3" destId="33" srcOrd="0" destOrd="0"/>
        <dgm:cxn modelId="38" srcId="3" destId="34" srcOrd="0" destOrd="0"/>
      </dgm:cxnLst>
      <dgm:bg/>
      <dgm:whole/>
    </dgm:dataModel>
  </dgm:clrData>
  <dgm:layoutNode name="list">
    <dgm:varLst>
      <dgm:dir/>
      <dgm:animLvl val="lvl"/>
    </dgm:varLst>
    <dgm:choose name="Name0">
      <dgm:if name="Name1" func="var" arg="dir" op="equ" val="norm">
        <dgm:alg type="lin">
          <dgm:param type="linDir" val="fromL"/>
          <dgm:param type="fallback" val="2D"/>
          <dgm:param type="nodeVertAlign" val="t"/>
        </dgm:alg>
      </dgm:if>
      <dgm:else name="Name2">
        <dgm:alg type="lin">
          <dgm:param type="linDir" val="fromR"/>
          <dgm:param type="fallback" val="2D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ircle" refType="w" fact="0.5"/>
      <dgm:constr type="w" for="ch" forName="vertFlow" refType="w" fact="0.75"/>
      <dgm:constr type="h" for="des" forName="firstComp" refType="w" refFor="ch" refForName="vertFlow" fact="0.667"/>
      <dgm:constr type="h" for="des" forName="comp" refType="h" refFor="des" refForName="firstComp" op="equ"/>
      <dgm:constr type="h" for="des" forName="topSpace" refType="w" refFor="ch" refForName="circle" op="equ" fact="0.4"/>
      <dgm:constr type="w" for="ch" forName="posSpace" refType="w" fact="0.4"/>
      <dgm:constr type="w" for="ch" forName="negSpace" refType="w" fact="-1.15"/>
      <dgm:constr type="w" for="ch" forName="transSpace" refType="w" fact="0.75"/>
      <dgm:constr type="primFontSz" for="ch" forName="circle" op="equ" val="65"/>
      <dgm:constr type="primFontSz" for="des" forName="firstChildTx" val="65"/>
      <dgm:constr type="primFontSz" for="des" forName="childTx" refType="primFontSz" refFor="des" refForName="firstChildTx" op="equ"/>
    </dgm:constrLst>
    <dgm:ruleLst/>
    <dgm:forEach name="Name3" axis="ch" ptType="node">
      <dgm:layoutNode name="pos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vertFlow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firstComp" refType="w"/>
          <dgm:constr type="w" for="ch" forName="comp" refType="w"/>
        </dgm:constrLst>
        <dgm:ruleLst/>
        <dgm:layoutNode name="top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firstComp">
          <dgm:alg type="composite"/>
          <dgm:shape xmlns:r="http://schemas.openxmlformats.org/officeDocument/2006/relationships" r:blip="">
            <dgm:adjLst/>
          </dgm:shape>
          <dgm:presOf/>
          <dgm:choose name="Name4">
            <dgm:if name="Name5" func="var" arg="dir" op="equ" val="norm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 refType="w" fact="0.16"/>
                <dgm:constr type="r" for="ch" forName="firstChildTx" refType="w"/>
                <dgm:constr type="h" for="ch" forName="firstChildTx" refFor="ch" refForName="firstChild" op="equ"/>
              </dgm:constrLst>
            </dgm:if>
            <dgm:else name="Name6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/>
                <dgm:constr type="r" for="ch" forName="firstChildTx" refType="w" fact="0.825"/>
                <dgm:constr type="h" for="ch" forName="firstChildTx" refFor="ch" refForName="firstChild" op="equ"/>
              </dgm:constrLst>
            </dgm:else>
          </dgm:choose>
          <dgm:ruleLst/>
          <dgm:layoutNode name="firstChild" styleLbl="bgAccFollowNode1">
            <dgm:alg type="sp"/>
            <dgm:shape xmlns:r="http://schemas.openxmlformats.org/officeDocument/2006/relationships" type="rect" r:blip="">
              <dgm:adjLst/>
            </dgm:shape>
            <dgm:presOf axis="ch desOrSelf" ptType="node node" cnt="1 0"/>
            <dgm:constrLst/>
            <dgm:ruleLst/>
          </dgm:layoutNode>
          <dgm:layoutNode name="firstChildTx" styleLbl="bgAccFollowNode1">
            <dgm:varLst>
              <dgm:bulletEnabled val="1"/>
            </dgm:varLst>
            <dgm:alg type="tx">
              <dgm:param type="parTxLTRAlign" val="l"/>
            </dgm:alg>
            <dgm:shape xmlns:r="http://schemas.openxmlformats.org/officeDocument/2006/relationships" type="rect" r:blip="" hideGeom="1">
              <dgm:adjLst/>
            </dgm:shape>
            <dgm:presOf axis="ch desOrSelf" ptType="node node" cnt="1 0"/>
            <dgm:choose name="Name7">
              <dgm:if name="Name8" func="var" arg="dir" op="equ" val="norm">
                <dgm:constrLst>
                  <dgm:constr type="primFontSz" val="65"/>
                  <dgm:constr type="lMarg"/>
                </dgm:constrLst>
              </dgm:if>
              <dgm:else name="Name9">
                <dgm:constrLst>
                  <dgm:constr type="primFontSz" val="65"/>
                  <dgm:constr type="r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forEach name="Name10" axis="ch" ptType="node" st="2">
          <dgm:layoutNode name="comp">
            <dgm:alg type="composite"/>
            <dgm:shape xmlns:r="http://schemas.openxmlformats.org/officeDocument/2006/relationships" r:blip="">
              <dgm:adjLst/>
            </dgm:shape>
            <dgm:presOf/>
            <dgm:choose name="Name11">
              <dgm:if name="Name12" func="var" arg="dir" op="equ" val="norm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 refType="w" fact="0.16"/>
                  <dgm:constr type="r" for="ch" forName="childTx" refType="w"/>
                  <dgm:constr type="h" for="ch" forName="childTx" refFor="ch" refForName="child" op="equ"/>
                </dgm:constrLst>
              </dgm:if>
              <dgm:else name="Name13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/>
                  <dgm:constr type="r" for="ch" forName="childTx" refType="w" fact="0.825"/>
                  <dgm:constr type="h" for="ch" forName="childTx" refFor="ch" refForName="child" op="equ"/>
                </dgm:constrLst>
              </dgm:else>
            </dgm:choose>
            <dgm:ruleLst/>
            <dgm:layoutNode name="child" styleLbl="bgAccFollowNode1">
              <dgm:alg type="sp"/>
              <dgm:shape xmlns:r="http://schemas.openxmlformats.org/officeDocument/2006/relationships" type="rect" r:blip="">
                <dgm:adjLst/>
              </dgm:shape>
              <dgm:presOf axis="desOrSelf" ptType="node"/>
              <dgm:constrLst/>
              <dgm:ruleLst/>
            </dgm:layoutNode>
            <dgm:layoutNode name="childTx" styleLbl="bgAccFollowNode1">
              <dgm:varLst>
                <dgm:bulletEnabled val="1"/>
              </dgm:varLst>
              <dgm:alg type="tx">
                <dgm:param type="parTxLTRAlign" val="l"/>
              </dgm:alg>
              <dgm:shape xmlns:r="http://schemas.openxmlformats.org/officeDocument/2006/relationships" type="rect" r:blip="" hideGeom="1">
                <dgm:adjLst/>
              </dgm:shape>
              <dgm:presOf axis="desOrSelf" ptType="node"/>
              <dgm:choose name="Name14">
                <dgm:if name="Name15" func="var" arg="dir" op="equ" val="norm">
                  <dgm:constrLst>
                    <dgm:constr type="primFontSz" val="65"/>
                    <dgm:constr type="lMarg"/>
                  </dgm:constrLst>
                </dgm:if>
                <dgm:else name="Name16">
                  <dgm:constrLst>
                    <dgm:constr type="primFontSz" val="65"/>
                    <dgm:constr type="rMarg"/>
                  </dgm:constrLst>
                </dgm:else>
              </dgm:choose>
              <dgm:ruleLst>
                <dgm:rule type="primFontSz" val="5" fact="NaN" max="NaN"/>
              </dgm:ruleLst>
            </dgm:layoutNode>
          </dgm:layoutNode>
        </dgm:forEach>
      </dgm:layoutNode>
      <dgm:layoutNode name="neg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ircle" styleLbl="node1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lMarg"/>
          <dgm:constr type="rMarg"/>
          <dgm:constr type="tMarg"/>
          <dgm:constr type="bMarg"/>
          <dgm:constr type="h" refType="w"/>
        </dgm:constrLst>
        <dgm:ruleLst>
          <dgm:rule type="primFontSz" val="5" fact="NaN" max="NaN"/>
        </dgm:ruleLst>
      </dgm:layoutNode>
      <dgm:forEach name="Name17" axis="followSib" ptType="sibTrans" cnt="1">
        <dgm:layoutNode name="trans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vList4#2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vList4#1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5/8/layout/arrow3">
  <dgm:title val=""/>
  <dgm:desc val=""/>
  <dgm:catLst>
    <dgm:cat type="relationship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l" for="ch" forName="downArrow" refType="w" fact="0.1"/>
              <dgm:constr type="t" for="ch" forName="downArrow" refType="h" fact="0.05"/>
              <dgm:constr type="lOff" for="ch" forName="downArrow" refType="w" fact="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r" for="ch" forName="downArrowText" refType="w" fact="0.8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r" for="ch" forName="upArrow" refType="w" fact="0.9"/>
              <dgm:constr type="rOff" for="ch" forName="upArrow" refType="w" fact="-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l" for="ch" forName="upArrowText" refType="w" fact="0.15"/>
              <dgm:constr type="primFontSz" for="ch" ptType="node" op="equ" val="65"/>
            </dgm:constrLst>
          </dgm:if>
          <dgm:else name="Name4">
            <dgm:constrLst>
              <dgm:constr type="w" for="ch" forName="downArrow" refType="w" fact="0.4"/>
              <dgm:constr type="h" for="ch" forName="downArrow" refType="h" fact="0.8"/>
              <dgm:constr type="l" for="ch" forName="downArrow" refType="w" fact="0.02"/>
              <dgm:constr type="t" for="ch" forName="downArrow" refType="h" fact="0.05"/>
              <dgm:constr type="lOff" for="ch" forName="downArrow" refType="w" fact="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r" for="ch" forName="downArrowText" refType="w"/>
              <dgm:constr type="primFontSz" for="ch" ptType="node" op="equ" val="65"/>
            </dgm:constrLst>
          </dgm:else>
        </dgm:choose>
      </dgm:if>
      <dgm:else name="Name5">
        <dgm:choose name="Name6">
          <dgm:if name="Name7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r" for="ch" forName="downArrow" refType="w" fact="0.9"/>
              <dgm:constr type="t" for="ch" forName="downArrow" refType="h" fact="0.05"/>
              <dgm:constr type="rOff" for="ch" forName="downArrow" refType="w" fact="-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l" for="ch" forName="downArrowText" refType="w" fact="0.1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l" for="ch" forName="upArrow" refType="w" fact="0.1"/>
              <dgm:constr type="lOff" for="ch" forName="upArrow" refType="w" fact="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r" for="ch" forName="upArrowText" refType="w" fact="0.85"/>
              <dgm:constr type="primFontSz" for="ch" ptType="node" op="equ" val="65"/>
            </dgm:constrLst>
          </dgm:if>
          <dgm:else name="Name8">
            <dgm:constrLst>
              <dgm:constr type="w" for="ch" forName="downArrow" refType="w" fact="0.4"/>
              <dgm:constr type="h" for="ch" forName="downArrow" refType="h" fact="0.8"/>
              <dgm:constr type="r" for="ch" forName="downArrow" refType="w" fact="0.98"/>
              <dgm:constr type="t" for="ch" forName="downArrow" refType="h" fact="0.05"/>
              <dgm:constr type="rOff" for="ch" forName="downArrow" refType="w" fact="-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l" for="ch" forName="downArrowText"/>
              <dgm:constr type="primFontSz" for="ch" ptType="node" op="equ" val="65"/>
            </dgm:constrLst>
          </dgm:else>
        </dgm:choose>
      </dgm:else>
    </dgm:choose>
    <dgm:ruleLst/>
    <dgm:choose name="Name9">
      <dgm:if name="Name10" axis="ch" ptType="node" func="cnt" op="gte" val="2">
        <dgm:layoutNode name="divider" styleLbl="fgShp">
          <dgm:alg type="sp"/>
          <dgm:choose name="Name11">
            <dgm:if name="Name12" func="var" arg="dir" op="equ" val="norm">
              <dgm:shape xmlns:r="http://schemas.openxmlformats.org/officeDocument/2006/relationships" rot="-5" type="mathMinus" r:blip="">
                <dgm:adjLst/>
              </dgm:shape>
            </dgm:if>
            <dgm:else name="Name13">
              <dgm:shape xmlns:r="http://schemas.openxmlformats.org/officeDocument/2006/relationships" rot="5" type="mathMinus" r:blip="">
                <dgm:adjLst/>
              </dgm:shape>
            </dgm:else>
          </dgm:choose>
          <dgm:presOf/>
          <dgm:constrLst/>
          <dgm:ruleLst/>
        </dgm:layoutNode>
      </dgm:if>
      <dgm:else name="Name14"/>
    </dgm:choose>
    <dgm:forEach name="Name15" axis="ch" ptType="node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  <dgm:forEach name="Name16" axis="ch" ptType="node" st="2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24.xml><?xml version="1.0" encoding="utf-8"?>
<dgm:layoutDef xmlns:dgm="http://schemas.openxmlformats.org/drawingml/2006/diagram" xmlns:a="http://schemas.openxmlformats.org/drawingml/2006/main" uniqueId="urn:microsoft.com/office/officeart/2005/8/layout/vList4#2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List9">
  <dgm:title val=""/>
  <dgm:desc val=""/>
  <dgm:catLst>
    <dgm:cat type="list" pri="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3" srcId="0" destId="1" srcOrd="0" destOrd="0"/>
        <dgm:cxn modelId="4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2"/>
        <dgm:pt modelId="21"/>
        <dgm:pt modelId="22"/>
        <dgm:pt modelId="23"/>
        <dgm:pt modelId="24"/>
        <dgm:pt modelId="3"/>
        <dgm:pt modelId="31"/>
        <dgm:pt modelId="32"/>
        <dgm:pt modelId="33"/>
        <dgm:pt modelId="34"/>
      </dgm:ptLst>
      <dgm:cxnLst>
        <dgm:cxn modelId="4" srcId="0" destId="1" srcOrd="0" destOrd="0"/>
        <dgm:cxn modelId="5" srcId="0" destId="2" srcOrd="1" destOrd="0"/>
        <dgm:cxn modelId="6" srcId="0" destId="3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18" srcId="1" destId="14" srcOrd="0" destOrd="0"/>
        <dgm:cxn modelId="25" srcId="2" destId="21" srcOrd="0" destOrd="0"/>
        <dgm:cxn modelId="26" srcId="2" destId="22" srcOrd="0" destOrd="0"/>
        <dgm:cxn modelId="27" srcId="2" destId="23" srcOrd="0" destOrd="0"/>
        <dgm:cxn modelId="28" srcId="2" destId="24" srcOrd="0" destOrd="0"/>
        <dgm:cxn modelId="35" srcId="3" destId="31" srcOrd="0" destOrd="0"/>
        <dgm:cxn modelId="36" srcId="3" destId="32" srcOrd="0" destOrd="0"/>
        <dgm:cxn modelId="37" srcId="3" destId="33" srcOrd="0" destOrd="0"/>
        <dgm:cxn modelId="38" srcId="3" destId="34" srcOrd="0" destOrd="0"/>
      </dgm:cxnLst>
      <dgm:bg/>
      <dgm:whole/>
    </dgm:dataModel>
  </dgm:clrData>
  <dgm:layoutNode name="list">
    <dgm:varLst>
      <dgm:dir/>
      <dgm:animLvl val="lvl"/>
    </dgm:varLst>
    <dgm:choose name="Name0">
      <dgm:if name="Name1" func="var" arg="dir" op="equ" val="norm">
        <dgm:alg type="lin">
          <dgm:param type="linDir" val="fromL"/>
          <dgm:param type="fallback" val="2D"/>
          <dgm:param type="nodeVertAlign" val="t"/>
        </dgm:alg>
      </dgm:if>
      <dgm:else name="Name2">
        <dgm:alg type="lin">
          <dgm:param type="linDir" val="fromR"/>
          <dgm:param type="fallback" val="2D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ircle" refType="w" fact="0.5"/>
      <dgm:constr type="w" for="ch" forName="vertFlow" refType="w" fact="0.75"/>
      <dgm:constr type="h" for="des" forName="firstComp" refType="w" refFor="ch" refForName="vertFlow" fact="0.667"/>
      <dgm:constr type="h" for="des" forName="comp" refType="h" refFor="des" refForName="firstComp" op="equ"/>
      <dgm:constr type="h" for="des" forName="topSpace" refType="w" refFor="ch" refForName="circle" op="equ" fact="0.4"/>
      <dgm:constr type="w" for="ch" forName="posSpace" refType="w" fact="0.4"/>
      <dgm:constr type="w" for="ch" forName="negSpace" refType="w" fact="-1.15"/>
      <dgm:constr type="w" for="ch" forName="transSpace" refType="w" fact="0.75"/>
      <dgm:constr type="primFontSz" for="ch" forName="circle" op="equ" val="65"/>
      <dgm:constr type="primFontSz" for="des" forName="firstChildTx" val="65"/>
      <dgm:constr type="primFontSz" for="des" forName="childTx" refType="primFontSz" refFor="des" refForName="firstChildTx" op="equ"/>
    </dgm:constrLst>
    <dgm:ruleLst/>
    <dgm:forEach name="Name3" axis="ch" ptType="node">
      <dgm:layoutNode name="pos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vertFlow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firstComp" refType="w"/>
          <dgm:constr type="w" for="ch" forName="comp" refType="w"/>
        </dgm:constrLst>
        <dgm:ruleLst/>
        <dgm:layoutNode name="top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firstComp">
          <dgm:alg type="composite"/>
          <dgm:shape xmlns:r="http://schemas.openxmlformats.org/officeDocument/2006/relationships" r:blip="">
            <dgm:adjLst/>
          </dgm:shape>
          <dgm:presOf/>
          <dgm:choose name="Name4">
            <dgm:if name="Name5" func="var" arg="dir" op="equ" val="norm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 refType="w" fact="0.16"/>
                <dgm:constr type="r" for="ch" forName="firstChildTx" refType="w"/>
                <dgm:constr type="h" for="ch" forName="firstChildTx" refFor="ch" refForName="firstChild" op="equ"/>
              </dgm:constrLst>
            </dgm:if>
            <dgm:else name="Name6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/>
                <dgm:constr type="r" for="ch" forName="firstChildTx" refType="w" fact="0.825"/>
                <dgm:constr type="h" for="ch" forName="firstChildTx" refFor="ch" refForName="firstChild" op="equ"/>
              </dgm:constrLst>
            </dgm:else>
          </dgm:choose>
          <dgm:ruleLst/>
          <dgm:layoutNode name="firstChild" styleLbl="bgAccFollowNode1">
            <dgm:alg type="sp"/>
            <dgm:shape xmlns:r="http://schemas.openxmlformats.org/officeDocument/2006/relationships" type="rect" r:blip="">
              <dgm:adjLst/>
            </dgm:shape>
            <dgm:presOf axis="ch desOrSelf" ptType="node node" cnt="1 0"/>
            <dgm:constrLst/>
            <dgm:ruleLst/>
          </dgm:layoutNode>
          <dgm:layoutNode name="firstChildTx" styleLbl="bgAccFollowNode1">
            <dgm:varLst>
              <dgm:bulletEnabled val="1"/>
            </dgm:varLst>
            <dgm:alg type="tx">
              <dgm:param type="parTxLTRAlign" val="l"/>
            </dgm:alg>
            <dgm:shape xmlns:r="http://schemas.openxmlformats.org/officeDocument/2006/relationships" type="rect" r:blip="" hideGeom="1">
              <dgm:adjLst/>
            </dgm:shape>
            <dgm:presOf axis="ch desOrSelf" ptType="node node" cnt="1 0"/>
            <dgm:choose name="Name7">
              <dgm:if name="Name8" func="var" arg="dir" op="equ" val="norm">
                <dgm:constrLst>
                  <dgm:constr type="primFontSz" val="65"/>
                  <dgm:constr type="lMarg"/>
                </dgm:constrLst>
              </dgm:if>
              <dgm:else name="Name9">
                <dgm:constrLst>
                  <dgm:constr type="primFontSz" val="65"/>
                  <dgm:constr type="r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forEach name="Name10" axis="ch" ptType="node" st="2">
          <dgm:layoutNode name="comp">
            <dgm:alg type="composite"/>
            <dgm:shape xmlns:r="http://schemas.openxmlformats.org/officeDocument/2006/relationships" r:blip="">
              <dgm:adjLst/>
            </dgm:shape>
            <dgm:presOf/>
            <dgm:choose name="Name11">
              <dgm:if name="Name12" func="var" arg="dir" op="equ" val="norm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 refType="w" fact="0.16"/>
                  <dgm:constr type="r" for="ch" forName="childTx" refType="w"/>
                  <dgm:constr type="h" for="ch" forName="childTx" refFor="ch" refForName="child" op="equ"/>
                </dgm:constrLst>
              </dgm:if>
              <dgm:else name="Name13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/>
                  <dgm:constr type="r" for="ch" forName="childTx" refType="w" fact="0.825"/>
                  <dgm:constr type="h" for="ch" forName="childTx" refFor="ch" refForName="child" op="equ"/>
                </dgm:constrLst>
              </dgm:else>
            </dgm:choose>
            <dgm:ruleLst/>
            <dgm:layoutNode name="child" styleLbl="bgAccFollowNode1">
              <dgm:alg type="sp"/>
              <dgm:shape xmlns:r="http://schemas.openxmlformats.org/officeDocument/2006/relationships" type="rect" r:blip="">
                <dgm:adjLst/>
              </dgm:shape>
              <dgm:presOf axis="desOrSelf" ptType="node"/>
              <dgm:constrLst/>
              <dgm:ruleLst/>
            </dgm:layoutNode>
            <dgm:layoutNode name="childTx" styleLbl="bgAccFollowNode1">
              <dgm:varLst>
                <dgm:bulletEnabled val="1"/>
              </dgm:varLst>
              <dgm:alg type="tx">
                <dgm:param type="parTxLTRAlign" val="l"/>
              </dgm:alg>
              <dgm:shape xmlns:r="http://schemas.openxmlformats.org/officeDocument/2006/relationships" type="rect" r:blip="" hideGeom="1">
                <dgm:adjLst/>
              </dgm:shape>
              <dgm:presOf axis="desOrSelf" ptType="node"/>
              <dgm:choose name="Name14">
                <dgm:if name="Name15" func="var" arg="dir" op="equ" val="norm">
                  <dgm:constrLst>
                    <dgm:constr type="primFontSz" val="65"/>
                    <dgm:constr type="lMarg"/>
                  </dgm:constrLst>
                </dgm:if>
                <dgm:else name="Name16">
                  <dgm:constrLst>
                    <dgm:constr type="primFontSz" val="65"/>
                    <dgm:constr type="rMarg"/>
                  </dgm:constrLst>
                </dgm:else>
              </dgm:choose>
              <dgm:ruleLst>
                <dgm:rule type="primFontSz" val="5" fact="NaN" max="NaN"/>
              </dgm:ruleLst>
            </dgm:layoutNode>
          </dgm:layoutNode>
        </dgm:forEach>
      </dgm:layoutNode>
      <dgm:layoutNode name="neg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ircle" styleLbl="node1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lMarg"/>
          <dgm:constr type="rMarg"/>
          <dgm:constr type="tMarg"/>
          <dgm:constr type="bMarg"/>
          <dgm:constr type="h" refType="w"/>
        </dgm:constrLst>
        <dgm:ruleLst>
          <dgm:rule type="primFontSz" val="5" fact="NaN" max="NaN"/>
        </dgm:ruleLst>
      </dgm:layoutNode>
      <dgm:forEach name="Name17" axis="followSib" ptType="sibTrans" cnt="1">
        <dgm:layoutNode name="trans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4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9/2/quickstyle/3d8">
  <dgm:title val=""/>
  <dgm:desc val=""/>
  <dgm:catLst>
    <dgm:cat type="3D" pri="11800"/>
  </dgm:catLst>
  <dgm:scene3d>
    <a:camera prst="perspectiveHeroicExtremeRightFacing" zoom="82000">
      <a:rot lat="21300000" lon="20400000" rev="180000"/>
    </a:camera>
    <a:lightRig rig="morning" dir="t">
      <a:rot lat="0" lon="0" rev="20400000"/>
    </a:lightRig>
  </dgm:scene3d>
  <dgm:styleLbl name="node0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0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600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635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1520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90500" prstMaterial="matte">
      <a:bevelT w="120650" h="38100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7">
  <dgm:title val=""/>
  <dgm:desc val=""/>
  <dgm:catLst>
    <dgm:cat type="3D" pri="11700"/>
  </dgm:catLst>
  <dgm:scene3d>
    <a:camera prst="perspectiveLeft" zoom="91000"/>
    <a:lightRig rig="threePt" dir="t">
      <a:rot lat="0" lon="0" rev="20640000"/>
    </a:lightRig>
  </dgm:scene3d>
  <dgm:styleLbl name="node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threePt" dir="t"/>
    </dgm:scene3d>
    <dgm:sp3d extrusionH="50600" prstMaterial="clear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 z="572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118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 z="106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 z="-2118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0000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50600">
      <a:bevelT w="101600" h="80600"/>
      <a:bevelB w="80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50600">
      <a:bevelT w="101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61800" extrusionH="10600" contourW="3000">
      <a:bevelT w="48600" h="8600" prst="softRound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61800" extrusionH="10600" contourW="3000">
      <a:bevelT w="48600" h="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618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50600">
      <a:bevelT w="80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200" extrusionH="600" contourW="3000" prstMaterial="plastic">
      <a:bevelT w="80600" h="18600" prst="relaxedInset"/>
      <a:bevelB w="80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3713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915" tIns="45958" rIns="91915" bIns="45958" numCol="1" anchor="t" anchorCtr="0" compatLnSpc="1">
            <a:prstTxWarp prst="textNoShape">
              <a:avLst/>
            </a:prstTxWarp>
          </a:bodyPr>
          <a:lstStyle>
            <a:lvl1pPr defTabSz="919163">
              <a:spcBef>
                <a:spcPct val="0"/>
              </a:spcBef>
              <a:defRPr b="1">
                <a:latin typeface="Arial" pitchFamily="34" charset="0"/>
                <a:ea typeface="华文楷体" pitchFamily="2" charset="-122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969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27688" y="0"/>
            <a:ext cx="4303712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915" tIns="45958" rIns="91915" bIns="45958" numCol="1" anchor="t" anchorCtr="0" compatLnSpc="1">
            <a:prstTxWarp prst="textNoShape">
              <a:avLst/>
            </a:prstTxWarp>
          </a:bodyPr>
          <a:lstStyle>
            <a:lvl1pPr algn="r" defTabSz="919163">
              <a:spcBef>
                <a:spcPct val="0"/>
              </a:spcBef>
              <a:defRPr b="1">
                <a:latin typeface="Arial" pitchFamily="34" charset="0"/>
                <a:ea typeface="华文楷体" pitchFamily="2" charset="-122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970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16675"/>
            <a:ext cx="4303713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915" tIns="45958" rIns="91915" bIns="45958" numCol="1" anchor="b" anchorCtr="0" compatLnSpc="1">
            <a:prstTxWarp prst="textNoShape">
              <a:avLst/>
            </a:prstTxWarp>
          </a:bodyPr>
          <a:lstStyle>
            <a:lvl1pPr defTabSz="919163">
              <a:spcBef>
                <a:spcPct val="0"/>
              </a:spcBef>
              <a:defRPr b="1">
                <a:latin typeface="Arial" pitchFamily="34" charset="0"/>
                <a:ea typeface="华文楷体" pitchFamily="2" charset="-122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970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27688" y="6416675"/>
            <a:ext cx="4303712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915" tIns="45958" rIns="91915" bIns="45958" numCol="1" anchor="b" anchorCtr="0" compatLnSpc="1">
            <a:prstTxWarp prst="textNoShape">
              <a:avLst/>
            </a:prstTxWarp>
          </a:bodyPr>
          <a:lstStyle>
            <a:lvl1pPr algn="r" defTabSz="919163">
              <a:spcBef>
                <a:spcPct val="0"/>
              </a:spcBef>
              <a:defRPr b="1">
                <a:latin typeface="Arial" pitchFamily="34" charset="0"/>
                <a:ea typeface="华文楷体" pitchFamily="2" charset="-122"/>
              </a:defRPr>
            </a:lvl1pPr>
          </a:lstStyle>
          <a:p>
            <a:pPr>
              <a:defRPr/>
            </a:pPr>
            <a:fld id="{6CAF2E03-9D7B-451C-AC2D-82F7BF955CF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192826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3713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915" tIns="45958" rIns="91915" bIns="45958" numCol="1" anchor="t" anchorCtr="0" compatLnSpc="1">
            <a:prstTxWarp prst="textNoShape">
              <a:avLst/>
            </a:prstTxWarp>
          </a:bodyPr>
          <a:lstStyle>
            <a:lvl1pPr defTabSz="919163">
              <a:spcBef>
                <a:spcPct val="0"/>
              </a:spcBef>
              <a:defRPr>
                <a:latin typeface="Times New Roman" pitchFamily="18" charset="0"/>
                <a:ea typeface="华文楷体" pitchFamily="2" charset="-122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7688" y="0"/>
            <a:ext cx="4303712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915" tIns="45958" rIns="91915" bIns="45958" numCol="1" anchor="t" anchorCtr="0" compatLnSpc="1">
            <a:prstTxWarp prst="textNoShape">
              <a:avLst/>
            </a:prstTxWarp>
          </a:bodyPr>
          <a:lstStyle>
            <a:lvl1pPr algn="r" defTabSz="919163">
              <a:spcBef>
                <a:spcPct val="0"/>
              </a:spcBef>
              <a:defRPr>
                <a:latin typeface="Times New Roman" pitchFamily="18" charset="0"/>
                <a:ea typeface="华文楷体" pitchFamily="2" charset="-122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53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113088" y="528638"/>
            <a:ext cx="3705225" cy="256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323975" y="3246438"/>
            <a:ext cx="7283450" cy="301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915" tIns="45958" rIns="91915" bIns="4595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16675"/>
            <a:ext cx="4303713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915" tIns="45958" rIns="91915" bIns="45958" numCol="1" anchor="b" anchorCtr="0" compatLnSpc="1">
            <a:prstTxWarp prst="textNoShape">
              <a:avLst/>
            </a:prstTxWarp>
          </a:bodyPr>
          <a:lstStyle>
            <a:lvl1pPr defTabSz="919163">
              <a:spcBef>
                <a:spcPct val="0"/>
              </a:spcBef>
              <a:defRPr>
                <a:latin typeface="Times New Roman" pitchFamily="18" charset="0"/>
                <a:ea typeface="华文楷体" pitchFamily="2" charset="-122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7688" y="6416675"/>
            <a:ext cx="4303712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915" tIns="45958" rIns="91915" bIns="45958" numCol="1" anchor="b" anchorCtr="0" compatLnSpc="1">
            <a:prstTxWarp prst="textNoShape">
              <a:avLst/>
            </a:prstTxWarp>
          </a:bodyPr>
          <a:lstStyle>
            <a:lvl1pPr algn="r" defTabSz="919163">
              <a:spcBef>
                <a:spcPct val="0"/>
              </a:spcBef>
              <a:defRPr>
                <a:latin typeface="Times New Roman" pitchFamily="18" charset="0"/>
                <a:ea typeface="华文楷体" pitchFamily="2" charset="-122"/>
              </a:defRPr>
            </a:lvl1pPr>
          </a:lstStyle>
          <a:p>
            <a:pPr>
              <a:defRPr/>
            </a:pPr>
            <a:fld id="{28083B04-4825-44DF-89FC-CABAE854A8A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11763170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oleObject" Target="../embeddings/oleObject3.bin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image" Target="../media/image1.jpeg"/><Relationship Id="rId2" Type="http://schemas.openxmlformats.org/officeDocument/2006/relationships/tags" Target="../tags/tag8.xml"/><Relationship Id="rId16" Type="http://schemas.openxmlformats.org/officeDocument/2006/relationships/oleObject" Target="../embeddings/oleObject2.bin"/><Relationship Id="rId20" Type="http://schemas.openxmlformats.org/officeDocument/2006/relationships/image" Target="../media/image3.png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6.xml"/><Relationship Id="rId19" Type="http://schemas.openxmlformats.org/officeDocument/2006/relationships/image" Target="../media/image2.jpe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tags" Target="../tags/tag111.xml"/><Relationship Id="rId18" Type="http://schemas.openxmlformats.org/officeDocument/2006/relationships/image" Target="../media/image4.png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12" Type="http://schemas.openxmlformats.org/officeDocument/2006/relationships/tags" Target="../tags/tag110.xml"/><Relationship Id="rId17" Type="http://schemas.openxmlformats.org/officeDocument/2006/relationships/oleObject" Target="../embeddings/oleObject21.bin"/><Relationship Id="rId2" Type="http://schemas.openxmlformats.org/officeDocument/2006/relationships/tags" Target="../tags/tag100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11.vml"/><Relationship Id="rId6" Type="http://schemas.openxmlformats.org/officeDocument/2006/relationships/tags" Target="../tags/tag104.xml"/><Relationship Id="rId11" Type="http://schemas.openxmlformats.org/officeDocument/2006/relationships/tags" Target="../tags/tag109.xml"/><Relationship Id="rId5" Type="http://schemas.openxmlformats.org/officeDocument/2006/relationships/tags" Target="../tags/tag10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08.xml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openxmlformats.org/officeDocument/2006/relationships/tags" Target="../tags/tag11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tags" Target="../tags/tag124.xml"/><Relationship Id="rId18" Type="http://schemas.openxmlformats.org/officeDocument/2006/relationships/image" Target="../media/image4.png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12" Type="http://schemas.openxmlformats.org/officeDocument/2006/relationships/tags" Target="../tags/tag123.xml"/><Relationship Id="rId17" Type="http://schemas.openxmlformats.org/officeDocument/2006/relationships/oleObject" Target="../embeddings/oleObject23.bin"/><Relationship Id="rId2" Type="http://schemas.openxmlformats.org/officeDocument/2006/relationships/tags" Target="../tags/tag113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12.v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5" Type="http://schemas.openxmlformats.org/officeDocument/2006/relationships/tags" Target="../tags/tag116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21.xml"/><Relationship Id="rId4" Type="http://schemas.openxmlformats.org/officeDocument/2006/relationships/tags" Target="../tags/tag115.xml"/><Relationship Id="rId9" Type="http://schemas.openxmlformats.org/officeDocument/2006/relationships/tags" Target="../tags/tag120.xml"/><Relationship Id="rId14" Type="http://schemas.openxmlformats.org/officeDocument/2006/relationships/tags" Target="../tags/tag125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13" Type="http://schemas.openxmlformats.org/officeDocument/2006/relationships/tags" Target="../tags/tag137.xml"/><Relationship Id="rId18" Type="http://schemas.openxmlformats.org/officeDocument/2006/relationships/image" Target="../media/image4.png"/><Relationship Id="rId3" Type="http://schemas.openxmlformats.org/officeDocument/2006/relationships/tags" Target="../tags/tag127.xml"/><Relationship Id="rId7" Type="http://schemas.openxmlformats.org/officeDocument/2006/relationships/tags" Target="../tags/tag131.xml"/><Relationship Id="rId12" Type="http://schemas.openxmlformats.org/officeDocument/2006/relationships/tags" Target="../tags/tag136.xml"/><Relationship Id="rId17" Type="http://schemas.openxmlformats.org/officeDocument/2006/relationships/oleObject" Target="../embeddings/oleObject25.bin"/><Relationship Id="rId2" Type="http://schemas.openxmlformats.org/officeDocument/2006/relationships/tags" Target="../tags/tag126.xml"/><Relationship Id="rId16" Type="http://schemas.openxmlformats.org/officeDocument/2006/relationships/oleObject" Target="../embeddings/oleObject24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30.xml"/><Relationship Id="rId11" Type="http://schemas.openxmlformats.org/officeDocument/2006/relationships/tags" Target="../tags/tag135.xml"/><Relationship Id="rId5" Type="http://schemas.openxmlformats.org/officeDocument/2006/relationships/tags" Target="../tags/tag129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34.xml"/><Relationship Id="rId4" Type="http://schemas.openxmlformats.org/officeDocument/2006/relationships/tags" Target="../tags/tag128.xml"/><Relationship Id="rId9" Type="http://schemas.openxmlformats.org/officeDocument/2006/relationships/tags" Target="../tags/tag133.xml"/><Relationship Id="rId14" Type="http://schemas.openxmlformats.org/officeDocument/2006/relationships/tags" Target="../tags/tag138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13" Type="http://schemas.openxmlformats.org/officeDocument/2006/relationships/tags" Target="../tags/tag150.xml"/><Relationship Id="rId18" Type="http://schemas.openxmlformats.org/officeDocument/2006/relationships/image" Target="../media/image4.png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12" Type="http://schemas.openxmlformats.org/officeDocument/2006/relationships/tags" Target="../tags/tag149.xml"/><Relationship Id="rId17" Type="http://schemas.openxmlformats.org/officeDocument/2006/relationships/oleObject" Target="../embeddings/oleObject27.bin"/><Relationship Id="rId2" Type="http://schemas.openxmlformats.org/officeDocument/2006/relationships/tags" Target="../tags/tag139.xml"/><Relationship Id="rId16" Type="http://schemas.openxmlformats.org/officeDocument/2006/relationships/oleObject" Target="../embeddings/oleObject26.bin"/><Relationship Id="rId1" Type="http://schemas.openxmlformats.org/officeDocument/2006/relationships/vmlDrawing" Target="../drawings/vmlDrawing14.v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47.xml"/><Relationship Id="rId4" Type="http://schemas.openxmlformats.org/officeDocument/2006/relationships/tags" Target="../tags/tag141.xml"/><Relationship Id="rId9" Type="http://schemas.openxmlformats.org/officeDocument/2006/relationships/tags" Target="../tags/tag146.xml"/><Relationship Id="rId14" Type="http://schemas.openxmlformats.org/officeDocument/2006/relationships/tags" Target="../tags/tag15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58.xml"/><Relationship Id="rId13" Type="http://schemas.openxmlformats.org/officeDocument/2006/relationships/tags" Target="../tags/tag163.xml"/><Relationship Id="rId18" Type="http://schemas.openxmlformats.org/officeDocument/2006/relationships/image" Target="../media/image4.png"/><Relationship Id="rId3" Type="http://schemas.openxmlformats.org/officeDocument/2006/relationships/tags" Target="../tags/tag153.xml"/><Relationship Id="rId7" Type="http://schemas.openxmlformats.org/officeDocument/2006/relationships/tags" Target="../tags/tag157.xml"/><Relationship Id="rId12" Type="http://schemas.openxmlformats.org/officeDocument/2006/relationships/tags" Target="../tags/tag162.xml"/><Relationship Id="rId17" Type="http://schemas.openxmlformats.org/officeDocument/2006/relationships/oleObject" Target="../embeddings/oleObject29.bin"/><Relationship Id="rId2" Type="http://schemas.openxmlformats.org/officeDocument/2006/relationships/tags" Target="../tags/tag152.xml"/><Relationship Id="rId16" Type="http://schemas.openxmlformats.org/officeDocument/2006/relationships/oleObject" Target="../embeddings/oleObject28.bin"/><Relationship Id="rId1" Type="http://schemas.openxmlformats.org/officeDocument/2006/relationships/vmlDrawing" Target="../drawings/vmlDrawing15.vml"/><Relationship Id="rId6" Type="http://schemas.openxmlformats.org/officeDocument/2006/relationships/tags" Target="../tags/tag156.xml"/><Relationship Id="rId11" Type="http://schemas.openxmlformats.org/officeDocument/2006/relationships/tags" Target="../tags/tag161.xml"/><Relationship Id="rId5" Type="http://schemas.openxmlformats.org/officeDocument/2006/relationships/tags" Target="../tags/tag155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60.xml"/><Relationship Id="rId4" Type="http://schemas.openxmlformats.org/officeDocument/2006/relationships/tags" Target="../tags/tag154.xml"/><Relationship Id="rId9" Type="http://schemas.openxmlformats.org/officeDocument/2006/relationships/tags" Target="../tags/tag159.xml"/><Relationship Id="rId14" Type="http://schemas.openxmlformats.org/officeDocument/2006/relationships/tags" Target="../tags/tag164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tags" Target="../tags/tag176.xml"/><Relationship Id="rId18" Type="http://schemas.openxmlformats.org/officeDocument/2006/relationships/image" Target="../media/image4.png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tags" Target="../tags/tag175.xml"/><Relationship Id="rId17" Type="http://schemas.openxmlformats.org/officeDocument/2006/relationships/oleObject" Target="../embeddings/oleObject31.bin"/><Relationship Id="rId2" Type="http://schemas.openxmlformats.org/officeDocument/2006/relationships/tags" Target="../tags/tag165.xml"/><Relationship Id="rId16" Type="http://schemas.openxmlformats.org/officeDocument/2006/relationships/oleObject" Target="../embeddings/oleObject30.bin"/><Relationship Id="rId1" Type="http://schemas.openxmlformats.org/officeDocument/2006/relationships/vmlDrawing" Target="../drawings/vmlDrawing16.vml"/><Relationship Id="rId6" Type="http://schemas.openxmlformats.org/officeDocument/2006/relationships/tags" Target="../tags/tag169.xml"/><Relationship Id="rId11" Type="http://schemas.openxmlformats.org/officeDocument/2006/relationships/tags" Target="../tags/tag174.xml"/><Relationship Id="rId5" Type="http://schemas.openxmlformats.org/officeDocument/2006/relationships/tags" Target="../tags/tag16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73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tags" Target="../tags/tag177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13" Type="http://schemas.openxmlformats.org/officeDocument/2006/relationships/tags" Target="../tags/tag189.xml"/><Relationship Id="rId18" Type="http://schemas.openxmlformats.org/officeDocument/2006/relationships/image" Target="../media/image4.png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12" Type="http://schemas.openxmlformats.org/officeDocument/2006/relationships/tags" Target="../tags/tag188.xml"/><Relationship Id="rId17" Type="http://schemas.openxmlformats.org/officeDocument/2006/relationships/oleObject" Target="../embeddings/oleObject33.bin"/><Relationship Id="rId2" Type="http://schemas.openxmlformats.org/officeDocument/2006/relationships/tags" Target="../tags/tag178.xml"/><Relationship Id="rId16" Type="http://schemas.openxmlformats.org/officeDocument/2006/relationships/oleObject" Target="../embeddings/oleObject32.bin"/><Relationship Id="rId1" Type="http://schemas.openxmlformats.org/officeDocument/2006/relationships/vmlDrawing" Target="../drawings/vmlDrawing17.vml"/><Relationship Id="rId6" Type="http://schemas.openxmlformats.org/officeDocument/2006/relationships/tags" Target="../tags/tag182.xml"/><Relationship Id="rId11" Type="http://schemas.openxmlformats.org/officeDocument/2006/relationships/tags" Target="../tags/tag187.xml"/><Relationship Id="rId5" Type="http://schemas.openxmlformats.org/officeDocument/2006/relationships/tags" Target="../tags/tag181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86.xml"/><Relationship Id="rId4" Type="http://schemas.openxmlformats.org/officeDocument/2006/relationships/tags" Target="../tags/tag180.xml"/><Relationship Id="rId9" Type="http://schemas.openxmlformats.org/officeDocument/2006/relationships/tags" Target="../tags/tag185.xml"/><Relationship Id="rId14" Type="http://schemas.openxmlformats.org/officeDocument/2006/relationships/tags" Target="../tags/tag190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97.xml"/><Relationship Id="rId13" Type="http://schemas.openxmlformats.org/officeDocument/2006/relationships/tags" Target="../tags/tag202.xml"/><Relationship Id="rId18" Type="http://schemas.openxmlformats.org/officeDocument/2006/relationships/image" Target="../media/image4.png"/><Relationship Id="rId3" Type="http://schemas.openxmlformats.org/officeDocument/2006/relationships/tags" Target="../tags/tag192.xml"/><Relationship Id="rId7" Type="http://schemas.openxmlformats.org/officeDocument/2006/relationships/tags" Target="../tags/tag196.xml"/><Relationship Id="rId12" Type="http://schemas.openxmlformats.org/officeDocument/2006/relationships/tags" Target="../tags/tag201.xml"/><Relationship Id="rId17" Type="http://schemas.openxmlformats.org/officeDocument/2006/relationships/oleObject" Target="../embeddings/oleObject35.bin"/><Relationship Id="rId2" Type="http://schemas.openxmlformats.org/officeDocument/2006/relationships/tags" Target="../tags/tag191.xml"/><Relationship Id="rId16" Type="http://schemas.openxmlformats.org/officeDocument/2006/relationships/oleObject" Target="../embeddings/oleObject34.bin"/><Relationship Id="rId1" Type="http://schemas.openxmlformats.org/officeDocument/2006/relationships/vmlDrawing" Target="../drawings/vmlDrawing18.vml"/><Relationship Id="rId6" Type="http://schemas.openxmlformats.org/officeDocument/2006/relationships/tags" Target="../tags/tag195.xml"/><Relationship Id="rId11" Type="http://schemas.openxmlformats.org/officeDocument/2006/relationships/tags" Target="../tags/tag200.xml"/><Relationship Id="rId5" Type="http://schemas.openxmlformats.org/officeDocument/2006/relationships/tags" Target="../tags/tag19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99.xml"/><Relationship Id="rId4" Type="http://schemas.openxmlformats.org/officeDocument/2006/relationships/tags" Target="../tags/tag193.xml"/><Relationship Id="rId9" Type="http://schemas.openxmlformats.org/officeDocument/2006/relationships/tags" Target="../tags/tag198.xml"/><Relationship Id="rId14" Type="http://schemas.openxmlformats.org/officeDocument/2006/relationships/tags" Target="../tags/tag20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11" Type="http://schemas.openxmlformats.org/officeDocument/2006/relationships/image" Target="../media/image4.png"/><Relationship Id="rId5" Type="http://schemas.openxmlformats.org/officeDocument/2006/relationships/tags" Target="../tags/tag24.xml"/><Relationship Id="rId10" Type="http://schemas.openxmlformats.org/officeDocument/2006/relationships/oleObject" Target="../embeddings/oleObject5.bin"/><Relationship Id="rId4" Type="http://schemas.openxmlformats.org/officeDocument/2006/relationships/tags" Target="../tags/tag23.xml"/><Relationship Id="rId9" Type="http://schemas.openxmlformats.org/officeDocument/2006/relationships/oleObject" Target="../embeddings/oleObject4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4.v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10" Type="http://schemas.openxmlformats.org/officeDocument/2006/relationships/image" Target="../media/image4.png"/><Relationship Id="rId4" Type="http://schemas.openxmlformats.org/officeDocument/2006/relationships/tags" Target="../tags/tag29.xml"/><Relationship Id="rId9" Type="http://schemas.openxmlformats.org/officeDocument/2006/relationships/oleObject" Target="../embeddings/oleObject7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21" Type="http://schemas.openxmlformats.org/officeDocument/2006/relationships/oleObject" Target="../embeddings/oleObject9.bin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" Type="http://schemas.openxmlformats.org/officeDocument/2006/relationships/tags" Target="../tags/tag32.xml"/><Relationship Id="rId16" Type="http://schemas.openxmlformats.org/officeDocument/2006/relationships/tags" Target="../tags/tag46.xml"/><Relationship Id="rId20" Type="http://schemas.openxmlformats.org/officeDocument/2006/relationships/image" Target="../media/image1.jpeg"/><Relationship Id="rId1" Type="http://schemas.openxmlformats.org/officeDocument/2006/relationships/vmlDrawing" Target="../drawings/vmlDrawing5.v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5" Type="http://schemas.openxmlformats.org/officeDocument/2006/relationships/tags" Target="../tags/tag35.xml"/><Relationship Id="rId15" Type="http://schemas.openxmlformats.org/officeDocument/2006/relationships/tags" Target="../tags/tag45.xml"/><Relationship Id="rId23" Type="http://schemas.openxmlformats.org/officeDocument/2006/relationships/image" Target="../media/image6.png"/><Relationship Id="rId10" Type="http://schemas.openxmlformats.org/officeDocument/2006/relationships/tags" Target="../tags/tag40.xml"/><Relationship Id="rId19" Type="http://schemas.openxmlformats.org/officeDocument/2006/relationships/oleObject" Target="../embeddings/oleObject8.bin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image" Target="../media/image5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tags" Target="../tags/tag59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49.xml"/><Relationship Id="rId21" Type="http://schemas.openxmlformats.org/officeDocument/2006/relationships/oleObject" Target="../embeddings/oleObject11.bin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tags" Target="../tags/tag63.xml"/><Relationship Id="rId2" Type="http://schemas.openxmlformats.org/officeDocument/2006/relationships/tags" Target="../tags/tag48.xml"/><Relationship Id="rId16" Type="http://schemas.openxmlformats.org/officeDocument/2006/relationships/tags" Target="../tags/tag62.xml"/><Relationship Id="rId20" Type="http://schemas.openxmlformats.org/officeDocument/2006/relationships/image" Target="../media/image1.jpeg"/><Relationship Id="rId1" Type="http://schemas.openxmlformats.org/officeDocument/2006/relationships/vmlDrawing" Target="../drawings/vmlDrawing6.v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5" Type="http://schemas.openxmlformats.org/officeDocument/2006/relationships/tags" Target="../tags/tag51.xml"/><Relationship Id="rId15" Type="http://schemas.openxmlformats.org/officeDocument/2006/relationships/tags" Target="../tags/tag61.xml"/><Relationship Id="rId23" Type="http://schemas.openxmlformats.org/officeDocument/2006/relationships/image" Target="../media/image6.png"/><Relationship Id="rId10" Type="http://schemas.openxmlformats.org/officeDocument/2006/relationships/tags" Target="../tags/tag56.xml"/><Relationship Id="rId19" Type="http://schemas.openxmlformats.org/officeDocument/2006/relationships/oleObject" Target="../embeddings/oleObject10.bin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tags" Target="../tags/tag60.xml"/><Relationship Id="rId22" Type="http://schemas.openxmlformats.org/officeDocument/2006/relationships/image" Target="../media/image5.jpe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6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vmlDrawing" Target="../drawings/vmlDrawing7.v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10" Type="http://schemas.openxmlformats.org/officeDocument/2006/relationships/image" Target="../media/image4.png"/><Relationship Id="rId4" Type="http://schemas.openxmlformats.org/officeDocument/2006/relationships/tags" Target="../tags/tag66.xml"/><Relationship Id="rId9" Type="http://schemas.openxmlformats.org/officeDocument/2006/relationships/oleObject" Target="../embeddings/oleObject13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7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vmlDrawing" Target="../drawings/vmlDrawing8.vml"/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10" Type="http://schemas.openxmlformats.org/officeDocument/2006/relationships/image" Target="../media/image4.png"/><Relationship Id="rId4" Type="http://schemas.openxmlformats.org/officeDocument/2006/relationships/tags" Target="../tags/tag71.xml"/><Relationship Id="rId9" Type="http://schemas.openxmlformats.org/officeDocument/2006/relationships/oleObject" Target="../embeddings/oleObject15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18" Type="http://schemas.openxmlformats.org/officeDocument/2006/relationships/image" Target="../media/image4.png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oleObject" Target="../embeddings/oleObject17.bin"/><Relationship Id="rId2" Type="http://schemas.openxmlformats.org/officeDocument/2006/relationships/tags" Target="../tags/tag74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9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image" Target="../media/image4.png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oleObject" Target="../embeddings/oleObject19.bin"/><Relationship Id="rId2" Type="http://schemas.openxmlformats.org/officeDocument/2006/relationships/tags" Target="../tags/tag87.xml"/><Relationship Id="rId16" Type="http://schemas.openxmlformats.org/officeDocument/2006/relationships/oleObject" Target="../embeddings/oleObject18.bin"/><Relationship Id="rId1" Type="http://schemas.openxmlformats.org/officeDocument/2006/relationships/vmlDrawing" Target="../drawings/vmlDrawing10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6038" r:id="rId16" imgW="0" imgH="0" progId="">
              <p:embed/>
            </p:oleObj>
          </a:graphicData>
        </a:graphic>
      </p:graphicFrame>
      <p:sp>
        <p:nvSpPr>
          <p:cNvPr id="6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flipH="1">
            <a:off x="0" y="620713"/>
            <a:ext cx="9906000" cy="920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00266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US" altLang="zh-CN" sz="2400">
              <a:solidFill>
                <a:srgbClr val="095095"/>
              </a:solidFill>
              <a:ea typeface="华文楷体" pitchFamily="2" charset="-122"/>
            </a:endParaRPr>
          </a:p>
        </p:txBody>
      </p:sp>
      <p:sp>
        <p:nvSpPr>
          <p:cNvPr id="7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321425"/>
            <a:ext cx="9906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endParaRPr lang="en-US" sz="2400">
              <a:solidFill>
                <a:schemeClr val="folHlink"/>
              </a:solidFill>
              <a:ea typeface="+mn-ea"/>
            </a:endParaRPr>
          </a:p>
        </p:txBody>
      </p:sp>
      <p:grpSp>
        <p:nvGrpSpPr>
          <p:cNvPr id="8" name="Group 78"/>
          <p:cNvGrpSpPr>
            <a:grpSpLocks/>
          </p:cNvGrpSpPr>
          <p:nvPr/>
        </p:nvGrpSpPr>
        <p:grpSpPr bwMode="auto">
          <a:xfrm>
            <a:off x="0" y="0"/>
            <a:ext cx="9906000" cy="6858000"/>
            <a:chOff x="0" y="0"/>
            <a:chExt cx="9906000" cy="6858000"/>
          </a:xfrm>
        </p:grpSpPr>
        <p:sp>
          <p:nvSpPr>
            <p:cNvPr id="9" name="Line 102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>
              <a:off x="0" y="747713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0" name="Line 95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53022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1" name="Line 99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937577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5" name="Line 100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0" y="196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6" name="Line 101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0" y="452438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7" name="Line 103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0" y="1720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</p:grpSp>
      <p:pic>
        <p:nvPicPr>
          <p:cNvPr id="18" name="Picture 27" descr="内页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7" cstate="print">
            <a:clrChange>
              <a:clrFrom>
                <a:srgbClr val="221F41"/>
              </a:clrFrom>
              <a:clrTo>
                <a:srgbClr val="221F4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584" t="90486" r="68855" b="139"/>
          <a:stretch>
            <a:fillRect/>
          </a:stretch>
        </p:blipFill>
        <p:spPr bwMode="auto">
          <a:xfrm>
            <a:off x="534988" y="6400800"/>
            <a:ext cx="1425575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Slide Number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444038" y="6481763"/>
            <a:ext cx="157162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spcBef>
                <a:spcPct val="0"/>
              </a:spcBef>
              <a:defRPr/>
            </a:pPr>
            <a:fld id="{A132F277-FC30-4BF3-8E03-0DEE8A5A6CE6}" type="slidenum">
              <a:rPr lang="en-US" sz="10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pPr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20" name="Doc Code" descr="casecode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848350" y="6481763"/>
            <a:ext cx="3465513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>
              <a:defRPr sz="900" b="0" smtClean="0"/>
            </a:lvl1pPr>
          </a:lstStyle>
          <a:p>
            <a:pPr>
              <a:spcBef>
                <a:spcPct val="0"/>
              </a:spcBef>
              <a:defRPr/>
            </a:pPr>
            <a:r>
              <a:rPr lang="zh-CN" altLang="en-US" sz="100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部门 </a:t>
            </a:r>
            <a:r>
              <a:rPr lang="en-US" altLang="zh-CN" sz="100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– </a:t>
            </a:r>
            <a:r>
              <a:rPr lang="zh-CN" altLang="en-US" sz="100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文件名</a:t>
            </a:r>
            <a:endParaRPr lang="en-US" sz="1000" dirty="0">
              <a:solidFill>
                <a:schemeClr val="bg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21" name="Slide Number Line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9375775" y="6497638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zh-CN" altLang="en-US"/>
          </a:p>
        </p:txBody>
      </p:sp>
      <p:graphicFrame>
        <p:nvGraphicFramePr>
          <p:cNvPr id="2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6039" r:id="rId18" imgW="0" imgH="0" progId="">
              <p:embed/>
            </p:oleObj>
          </a:graphicData>
        </a:graphic>
      </p:graphicFrame>
      <p:pic>
        <p:nvPicPr>
          <p:cNvPr id="23" name="Picture 19" descr="d:\Documents and settings\Jingmei_Cai\Desktop\1.jp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1113" y="-9525"/>
            <a:ext cx="9928226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 descr="D:\工作\和易达\公司logo1.png"/>
          <p:cNvPicPr>
            <a:picLocks noChangeAspect="1" noChangeArrowheads="1"/>
          </p:cNvPicPr>
          <p:nvPr userDrawn="1"/>
        </p:nvPicPr>
        <p:blipFill>
          <a:blip r:embed="rId20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0225" y="6111875"/>
            <a:ext cx="384651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552659" y="1133102"/>
            <a:ext cx="8872695" cy="457946"/>
          </a:xfrm>
          <a:prstGeom prst="rect">
            <a:avLst/>
          </a:prstGeom>
          <a:ln algn="ctr"/>
        </p:spPr>
        <p:txBody>
          <a:bodyPr tIns="0" anchor="ctr">
            <a:spAutoFit/>
          </a:bodyPr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52659" y="3141664"/>
            <a:ext cx="8872695" cy="2862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Wingdings 2" pitchFamily="18" charset="2"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52659" y="2413000"/>
            <a:ext cx="8872695" cy="34349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195635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Content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5254" r:id="rId16" imgW="0" imgH="0" progId="">
              <p:embed/>
            </p:oleObj>
          </a:graphicData>
        </a:graphic>
      </p:graphicFrame>
      <p:sp>
        <p:nvSpPr>
          <p:cNvPr id="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flipH="1">
            <a:off x="0" y="620713"/>
            <a:ext cx="9906000" cy="920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00266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US" altLang="zh-CN" sz="2400">
              <a:solidFill>
                <a:srgbClr val="095095"/>
              </a:solidFill>
              <a:ea typeface="华文楷体" pitchFamily="2" charset="-122"/>
            </a:endParaRPr>
          </a:p>
        </p:txBody>
      </p:sp>
      <p:sp>
        <p:nvSpPr>
          <p:cNvPr id="9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321425"/>
            <a:ext cx="9906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endParaRPr lang="en-US" sz="2400">
              <a:solidFill>
                <a:schemeClr val="folHlink"/>
              </a:solidFill>
              <a:ea typeface="+mn-ea"/>
            </a:endParaRPr>
          </a:p>
        </p:txBody>
      </p:sp>
      <p:grpSp>
        <p:nvGrpSpPr>
          <p:cNvPr id="12" name="Group 78"/>
          <p:cNvGrpSpPr>
            <a:grpSpLocks/>
          </p:cNvGrpSpPr>
          <p:nvPr/>
        </p:nvGrpSpPr>
        <p:grpSpPr bwMode="auto">
          <a:xfrm>
            <a:off x="0" y="0"/>
            <a:ext cx="9906000" cy="6858000"/>
            <a:chOff x="0" y="0"/>
            <a:chExt cx="9906000" cy="6858000"/>
          </a:xfrm>
        </p:grpSpPr>
        <p:sp>
          <p:nvSpPr>
            <p:cNvPr id="13" name="Line 102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>
              <a:off x="0" y="747713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4" name="Line 95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53022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5" name="Line 99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937577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6" name="Line 100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0" y="196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7" name="Line 101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0" y="452438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8" name="Line 103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0" y="1720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</p:grpSp>
      <p:sp>
        <p:nvSpPr>
          <p:cNvPr id="19" name="Slide Number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444038" y="6481763"/>
            <a:ext cx="157162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spcBef>
                <a:spcPct val="0"/>
              </a:spcBef>
              <a:defRPr/>
            </a:pPr>
            <a:fld id="{158C9E85-3CE5-44F7-9FB3-448DD7FFAE69}" type="slidenum">
              <a:rPr lang="en-US" sz="10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pPr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20" name="Doc Code" descr="casecod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848350" y="6481763"/>
            <a:ext cx="3465513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>
              <a:defRPr sz="900" b="0" smtClean="0"/>
            </a:lvl1pPr>
          </a:lstStyle>
          <a:p>
            <a:pPr>
              <a:defRPr/>
            </a:pPr>
            <a:r>
              <a:rPr lang="zh-CN" altLang="en-US" sz="1000" dirty="0">
                <a:solidFill>
                  <a:schemeClr val="bg1"/>
                </a:solidFill>
                <a:latin typeface="Arial" pitchFamily="34" charset="0"/>
              </a:rPr>
              <a:t>北京和易达软件技术有限公司</a:t>
            </a:r>
            <a:r>
              <a:rPr lang="en-US" altLang="zh-CN" sz="1000" dirty="0">
                <a:solidFill>
                  <a:schemeClr val="bg1"/>
                </a:solidFill>
                <a:latin typeface="Arial" pitchFamily="34" charset="0"/>
              </a:rPr>
              <a:t>– </a:t>
            </a:r>
            <a:r>
              <a:rPr lang="zh-CN" altLang="en-US" sz="1000" dirty="0">
                <a:solidFill>
                  <a:schemeClr val="bg1"/>
                </a:solidFill>
                <a:latin typeface="Arial" pitchFamily="34" charset="0"/>
              </a:rPr>
              <a:t>龙湖架构</a:t>
            </a:r>
          </a:p>
        </p:txBody>
      </p:sp>
      <p:sp>
        <p:nvSpPr>
          <p:cNvPr id="21" name="Slide Number Line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9375775" y="6497638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zh-CN" altLang="en-US"/>
          </a:p>
        </p:txBody>
      </p:sp>
      <p:graphicFrame>
        <p:nvGraphicFramePr>
          <p:cNvPr id="2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5255" r:id="rId17" imgW="0" imgH="0" progId="">
              <p:embed/>
            </p:oleObj>
          </a:graphicData>
        </a:graphic>
      </p:graphicFrame>
      <p:pic>
        <p:nvPicPr>
          <p:cNvPr id="23" name="Picture 2" descr="D:\工作\和易达\公司logo1.png"/>
          <p:cNvPicPr>
            <a:picLocks noChangeAspect="1" noChangeArrowheads="1"/>
          </p:cNvPicPr>
          <p:nvPr userDrawn="1"/>
        </p:nvPicPr>
        <p:blipFill>
          <a:blip r:embed="rId18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4988" y="6450013"/>
            <a:ext cx="22288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00125"/>
            <a:ext cx="8535988" cy="661988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6600" y="1928813"/>
            <a:ext cx="4191000" cy="142154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0" y="1928813"/>
            <a:ext cx="4192588" cy="142154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Content Placeholder 21"/>
          <p:cNvSpPr>
            <a:spLocks noGrp="1"/>
          </p:cNvSpPr>
          <p:nvPr>
            <p:ph sz="quarter" idx="12"/>
          </p:nvPr>
        </p:nvSpPr>
        <p:spPr>
          <a:xfrm>
            <a:off x="0" y="0"/>
            <a:ext cx="9906000" cy="803297"/>
          </a:xfrm>
          <a:prstGeom prst="rect">
            <a:avLst/>
          </a:prstGeom>
        </p:spPr>
        <p:txBody>
          <a:bodyPr/>
          <a:lstStyle>
            <a:lvl1pPr marL="0" marR="0" indent="0" algn="l" defTabSz="9525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800" baseline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1"/>
          <p:cNvSpPr>
            <a:spLocks noGrp="1"/>
          </p:cNvSpPr>
          <p:nvPr>
            <p:ph sz="quarter" idx="13"/>
          </p:nvPr>
        </p:nvSpPr>
        <p:spPr>
          <a:xfrm rot="10800000">
            <a:off x="0" y="6080114"/>
            <a:ext cx="9906000" cy="803297"/>
          </a:xfrm>
          <a:prstGeom prst="rect">
            <a:avLst/>
          </a:prstGeom>
        </p:spPr>
        <p:txBody>
          <a:bodyPr anchor="b"/>
          <a:lstStyle>
            <a:lvl1pPr marL="0" marR="0" indent="0" algn="l" defTabSz="9525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800" baseline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4" name="Footer Placeholder 22"/>
          <p:cNvSpPr>
            <a:spLocks noGrp="1"/>
          </p:cNvSpPr>
          <p:nvPr>
            <p:ph type="ftr" sz="quarter" idx="14"/>
            <p:custDataLst>
              <p:tags r:id="rId7"/>
            </p:custDataLst>
          </p:nvPr>
        </p:nvSpPr>
        <p:spPr>
          <a:xfrm>
            <a:off x="8499475" y="6867525"/>
            <a:ext cx="1262063" cy="3016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5" name="Slide Number Placeholder 28"/>
          <p:cNvSpPr>
            <a:spLocks noGrp="1"/>
          </p:cNvSpPr>
          <p:nvPr>
            <p:ph type="sldNum" sz="quarter" idx="15"/>
            <p:custDataLst>
              <p:tags r:id="rId8"/>
            </p:custDataLst>
          </p:nvPr>
        </p:nvSpPr>
        <p:spPr>
          <a:xfrm>
            <a:off x="9780588" y="6867525"/>
            <a:ext cx="119062" cy="3016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spcBef>
                <a:spcPct val="0"/>
              </a:spcBef>
              <a:defRPr sz="200" b="1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ED03033B-A7AD-47AF-9956-80F27873D32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218566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Text over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6278" r:id="rId16" imgW="0" imgH="0" progId="">
              <p:embed/>
            </p:oleObj>
          </a:graphicData>
        </a:graphic>
      </p:graphicFrame>
      <p:sp>
        <p:nvSpPr>
          <p:cNvPr id="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flipH="1">
            <a:off x="0" y="620713"/>
            <a:ext cx="9906000" cy="920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00266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US" altLang="zh-CN" sz="2400">
              <a:solidFill>
                <a:srgbClr val="095095"/>
              </a:solidFill>
              <a:ea typeface="华文楷体" pitchFamily="2" charset="-122"/>
            </a:endParaRPr>
          </a:p>
        </p:txBody>
      </p:sp>
      <p:sp>
        <p:nvSpPr>
          <p:cNvPr id="9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321425"/>
            <a:ext cx="9906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endParaRPr lang="en-US" sz="2400">
              <a:solidFill>
                <a:schemeClr val="folHlink"/>
              </a:solidFill>
              <a:ea typeface="+mn-ea"/>
            </a:endParaRPr>
          </a:p>
        </p:txBody>
      </p:sp>
      <p:grpSp>
        <p:nvGrpSpPr>
          <p:cNvPr id="12" name="Group 78"/>
          <p:cNvGrpSpPr>
            <a:grpSpLocks/>
          </p:cNvGrpSpPr>
          <p:nvPr/>
        </p:nvGrpSpPr>
        <p:grpSpPr bwMode="auto">
          <a:xfrm>
            <a:off x="0" y="0"/>
            <a:ext cx="9906000" cy="6858000"/>
            <a:chOff x="0" y="0"/>
            <a:chExt cx="9906000" cy="6858000"/>
          </a:xfrm>
        </p:grpSpPr>
        <p:sp>
          <p:nvSpPr>
            <p:cNvPr id="13" name="Line 102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>
              <a:off x="0" y="747713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4" name="Line 95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53022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5" name="Line 99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937577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6" name="Line 100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0" y="196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7" name="Line 101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0" y="452438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8" name="Line 103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0" y="1720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</p:grpSp>
      <p:sp>
        <p:nvSpPr>
          <p:cNvPr id="19" name="Slide Number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444038" y="6481763"/>
            <a:ext cx="157162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spcBef>
                <a:spcPct val="0"/>
              </a:spcBef>
              <a:defRPr/>
            </a:pPr>
            <a:fld id="{B32324AA-9DB6-4539-9129-D074F7B1339C}" type="slidenum">
              <a:rPr lang="en-US" sz="10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pPr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20" name="Doc Code" descr="casecod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848350" y="6481763"/>
            <a:ext cx="3465513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>
              <a:defRPr sz="900" b="0" smtClean="0"/>
            </a:lvl1pPr>
          </a:lstStyle>
          <a:p>
            <a:pPr>
              <a:defRPr/>
            </a:pPr>
            <a:r>
              <a:rPr lang="zh-CN" altLang="en-US" sz="1000" dirty="0">
                <a:solidFill>
                  <a:schemeClr val="bg1"/>
                </a:solidFill>
                <a:latin typeface="Arial" pitchFamily="34" charset="0"/>
              </a:rPr>
              <a:t>北京和易达软件技术有限公司</a:t>
            </a:r>
            <a:r>
              <a:rPr lang="en-US" altLang="zh-CN" sz="1000" dirty="0">
                <a:solidFill>
                  <a:schemeClr val="bg1"/>
                </a:solidFill>
                <a:latin typeface="Arial" pitchFamily="34" charset="0"/>
              </a:rPr>
              <a:t>– </a:t>
            </a:r>
            <a:r>
              <a:rPr lang="zh-CN" altLang="en-US" sz="1000" dirty="0">
                <a:solidFill>
                  <a:schemeClr val="bg1"/>
                </a:solidFill>
                <a:latin typeface="Arial" pitchFamily="34" charset="0"/>
              </a:rPr>
              <a:t>龙湖架构</a:t>
            </a:r>
          </a:p>
        </p:txBody>
      </p:sp>
      <p:sp>
        <p:nvSpPr>
          <p:cNvPr id="21" name="Slide Number Line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9375775" y="6497638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zh-CN" altLang="en-US"/>
          </a:p>
        </p:txBody>
      </p:sp>
      <p:graphicFrame>
        <p:nvGraphicFramePr>
          <p:cNvPr id="2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6279" r:id="rId17" imgW="0" imgH="0" progId="">
              <p:embed/>
            </p:oleObj>
          </a:graphicData>
        </a:graphic>
      </p:graphicFrame>
      <p:pic>
        <p:nvPicPr>
          <p:cNvPr id="23" name="Picture 2" descr="D:\工作\和易达\公司logo1.png"/>
          <p:cNvPicPr>
            <a:picLocks noChangeAspect="1" noChangeArrowheads="1"/>
          </p:cNvPicPr>
          <p:nvPr userDrawn="1"/>
        </p:nvPicPr>
        <p:blipFill>
          <a:blip r:embed="rId18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4988" y="6450013"/>
            <a:ext cx="22288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00125"/>
            <a:ext cx="8535988" cy="661988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36600" y="1928813"/>
            <a:ext cx="8535988" cy="142154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600" y="3298825"/>
            <a:ext cx="8535988" cy="142154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Content Placeholder 21"/>
          <p:cNvSpPr>
            <a:spLocks noGrp="1"/>
          </p:cNvSpPr>
          <p:nvPr>
            <p:ph sz="quarter" idx="12"/>
          </p:nvPr>
        </p:nvSpPr>
        <p:spPr>
          <a:xfrm>
            <a:off x="0" y="0"/>
            <a:ext cx="9906000" cy="803297"/>
          </a:xfrm>
          <a:prstGeom prst="rect">
            <a:avLst/>
          </a:prstGeom>
        </p:spPr>
        <p:txBody>
          <a:bodyPr/>
          <a:lstStyle>
            <a:lvl1pPr marL="0" marR="0" indent="0" algn="l" defTabSz="9525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800" baseline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1"/>
          <p:cNvSpPr>
            <a:spLocks noGrp="1"/>
          </p:cNvSpPr>
          <p:nvPr>
            <p:ph sz="quarter" idx="13"/>
          </p:nvPr>
        </p:nvSpPr>
        <p:spPr>
          <a:xfrm rot="10800000">
            <a:off x="0" y="6049008"/>
            <a:ext cx="9906000" cy="803297"/>
          </a:xfrm>
          <a:prstGeom prst="rect">
            <a:avLst/>
          </a:prstGeom>
        </p:spPr>
        <p:txBody>
          <a:bodyPr anchor="b"/>
          <a:lstStyle>
            <a:lvl1pPr marL="0" marR="0" indent="0" algn="l" defTabSz="9525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800" baseline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4" name="Footer Placeholder 22"/>
          <p:cNvSpPr>
            <a:spLocks noGrp="1"/>
          </p:cNvSpPr>
          <p:nvPr>
            <p:ph type="ftr" sz="quarter" idx="14"/>
            <p:custDataLst>
              <p:tags r:id="rId7"/>
            </p:custDataLst>
          </p:nvPr>
        </p:nvSpPr>
        <p:spPr>
          <a:xfrm>
            <a:off x="8499475" y="6867525"/>
            <a:ext cx="1262063" cy="3016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5" name="Slide Number Placeholder 28"/>
          <p:cNvSpPr>
            <a:spLocks noGrp="1"/>
          </p:cNvSpPr>
          <p:nvPr>
            <p:ph type="sldNum" sz="quarter" idx="15"/>
            <p:custDataLst>
              <p:tags r:id="rId8"/>
            </p:custDataLst>
          </p:nvPr>
        </p:nvSpPr>
        <p:spPr>
          <a:xfrm>
            <a:off x="9780588" y="6867525"/>
            <a:ext cx="119062" cy="3016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spcBef>
                <a:spcPct val="0"/>
              </a:spcBef>
              <a:defRPr sz="200" b="1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D0F58E72-E552-488A-A12E-86CE185DE2C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766005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 over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7302" r:id="rId16" imgW="0" imgH="0" progId="">
              <p:embed/>
            </p:oleObj>
          </a:graphicData>
        </a:graphic>
      </p:graphicFrame>
      <p:sp>
        <p:nvSpPr>
          <p:cNvPr id="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flipH="1">
            <a:off x="0" y="620713"/>
            <a:ext cx="9906000" cy="920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00266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US" altLang="zh-CN" sz="2400">
              <a:solidFill>
                <a:srgbClr val="095095"/>
              </a:solidFill>
              <a:ea typeface="华文楷体" pitchFamily="2" charset="-122"/>
            </a:endParaRPr>
          </a:p>
        </p:txBody>
      </p:sp>
      <p:sp>
        <p:nvSpPr>
          <p:cNvPr id="9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321425"/>
            <a:ext cx="9906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endParaRPr lang="en-US" sz="2400">
              <a:solidFill>
                <a:schemeClr val="folHlink"/>
              </a:solidFill>
              <a:ea typeface="+mn-ea"/>
            </a:endParaRPr>
          </a:p>
        </p:txBody>
      </p:sp>
      <p:grpSp>
        <p:nvGrpSpPr>
          <p:cNvPr id="12" name="Group 78"/>
          <p:cNvGrpSpPr>
            <a:grpSpLocks/>
          </p:cNvGrpSpPr>
          <p:nvPr/>
        </p:nvGrpSpPr>
        <p:grpSpPr bwMode="auto">
          <a:xfrm>
            <a:off x="0" y="0"/>
            <a:ext cx="9906000" cy="6858000"/>
            <a:chOff x="0" y="0"/>
            <a:chExt cx="9906000" cy="6858000"/>
          </a:xfrm>
        </p:grpSpPr>
        <p:sp>
          <p:nvSpPr>
            <p:cNvPr id="13" name="Line 102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>
              <a:off x="0" y="747713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4" name="Line 95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53022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5" name="Line 99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937577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6" name="Line 100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0" y="196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7" name="Line 101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0" y="452438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8" name="Line 103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0" y="1720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</p:grpSp>
      <p:sp>
        <p:nvSpPr>
          <p:cNvPr id="19" name="Slide Number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444038" y="6481763"/>
            <a:ext cx="157162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spcBef>
                <a:spcPct val="0"/>
              </a:spcBef>
              <a:defRPr/>
            </a:pPr>
            <a:fld id="{832F2CCF-1918-419C-84E5-6479A57DA7F8}" type="slidenum">
              <a:rPr lang="en-US" sz="10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pPr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20" name="Doc Code" descr="casecod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848350" y="6481763"/>
            <a:ext cx="3465513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>
              <a:defRPr sz="900" b="0" smtClean="0"/>
            </a:lvl1pPr>
          </a:lstStyle>
          <a:p>
            <a:pPr>
              <a:defRPr/>
            </a:pPr>
            <a:r>
              <a:rPr lang="zh-CN" altLang="en-US" sz="1000" dirty="0">
                <a:solidFill>
                  <a:schemeClr val="bg1"/>
                </a:solidFill>
                <a:latin typeface="Arial" pitchFamily="34" charset="0"/>
              </a:rPr>
              <a:t>北京和易达软件技术有限公司</a:t>
            </a:r>
            <a:r>
              <a:rPr lang="en-US" altLang="zh-CN" sz="1000" dirty="0">
                <a:solidFill>
                  <a:schemeClr val="bg1"/>
                </a:solidFill>
                <a:latin typeface="Arial" pitchFamily="34" charset="0"/>
              </a:rPr>
              <a:t>– </a:t>
            </a:r>
            <a:r>
              <a:rPr lang="zh-CN" altLang="en-US" sz="1000" dirty="0">
                <a:solidFill>
                  <a:schemeClr val="bg1"/>
                </a:solidFill>
                <a:latin typeface="Arial" pitchFamily="34" charset="0"/>
              </a:rPr>
              <a:t>龙湖架构</a:t>
            </a:r>
          </a:p>
        </p:txBody>
      </p:sp>
      <p:sp>
        <p:nvSpPr>
          <p:cNvPr id="21" name="Slide Number Line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9375775" y="6497638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zh-CN" altLang="en-US"/>
          </a:p>
        </p:txBody>
      </p:sp>
      <p:graphicFrame>
        <p:nvGraphicFramePr>
          <p:cNvPr id="2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7303" r:id="rId17" imgW="0" imgH="0" progId="">
              <p:embed/>
            </p:oleObj>
          </a:graphicData>
        </a:graphic>
      </p:graphicFrame>
      <p:pic>
        <p:nvPicPr>
          <p:cNvPr id="23" name="Picture 2" descr="D:\工作\和易达\公司logo1.png"/>
          <p:cNvPicPr>
            <a:picLocks noChangeAspect="1" noChangeArrowheads="1"/>
          </p:cNvPicPr>
          <p:nvPr userDrawn="1"/>
        </p:nvPicPr>
        <p:blipFill>
          <a:blip r:embed="rId18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4988" y="6450013"/>
            <a:ext cx="22288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00125"/>
            <a:ext cx="8535988" cy="661988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6600" y="1928813"/>
            <a:ext cx="8535988" cy="142154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600" y="3298825"/>
            <a:ext cx="8535988" cy="142154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Content Placeholder 21"/>
          <p:cNvSpPr>
            <a:spLocks noGrp="1"/>
          </p:cNvSpPr>
          <p:nvPr>
            <p:ph sz="quarter" idx="12"/>
          </p:nvPr>
        </p:nvSpPr>
        <p:spPr>
          <a:xfrm>
            <a:off x="0" y="0"/>
            <a:ext cx="9906000" cy="803297"/>
          </a:xfrm>
          <a:prstGeom prst="rect">
            <a:avLst/>
          </a:prstGeom>
        </p:spPr>
        <p:txBody>
          <a:bodyPr/>
          <a:lstStyle>
            <a:lvl1pPr marL="0" marR="0" indent="0" algn="l" defTabSz="9525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800" baseline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1"/>
          <p:cNvSpPr>
            <a:spLocks noGrp="1"/>
          </p:cNvSpPr>
          <p:nvPr>
            <p:ph sz="quarter" idx="13"/>
          </p:nvPr>
        </p:nvSpPr>
        <p:spPr>
          <a:xfrm rot="10800000">
            <a:off x="0" y="6049008"/>
            <a:ext cx="9906000" cy="803297"/>
          </a:xfrm>
          <a:prstGeom prst="rect">
            <a:avLst/>
          </a:prstGeom>
        </p:spPr>
        <p:txBody>
          <a:bodyPr anchor="b"/>
          <a:lstStyle>
            <a:lvl1pPr marL="0" marR="0" indent="0" algn="l" defTabSz="9525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800" baseline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4" name="Footer Placeholder 22"/>
          <p:cNvSpPr>
            <a:spLocks noGrp="1"/>
          </p:cNvSpPr>
          <p:nvPr>
            <p:ph type="ftr" sz="quarter" idx="14"/>
            <p:custDataLst>
              <p:tags r:id="rId7"/>
            </p:custDataLst>
          </p:nvPr>
        </p:nvSpPr>
        <p:spPr>
          <a:xfrm>
            <a:off x="8499475" y="6867525"/>
            <a:ext cx="1262063" cy="3016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5" name="Slide Number Placeholder 28"/>
          <p:cNvSpPr>
            <a:spLocks noGrp="1"/>
          </p:cNvSpPr>
          <p:nvPr>
            <p:ph type="sldNum" sz="quarter" idx="15"/>
            <p:custDataLst>
              <p:tags r:id="rId8"/>
            </p:custDataLst>
          </p:nvPr>
        </p:nvSpPr>
        <p:spPr>
          <a:xfrm>
            <a:off x="9780588" y="6867525"/>
            <a:ext cx="119062" cy="3016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spcBef>
                <a:spcPct val="0"/>
              </a:spcBef>
              <a:defRPr sz="200" b="1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2A8A137B-2DDC-4DC8-AE4D-7D3A8BC254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755731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2 Content over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8326" r:id="rId16" imgW="0" imgH="0" progId="">
              <p:embed/>
            </p:oleObj>
          </a:graphicData>
        </a:graphic>
      </p:graphicFrame>
      <p:sp>
        <p:nvSpPr>
          <p:cNvPr id="9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flipH="1">
            <a:off x="0" y="620713"/>
            <a:ext cx="9906000" cy="920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00266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US" altLang="zh-CN" sz="2400">
              <a:solidFill>
                <a:srgbClr val="095095"/>
              </a:solidFill>
              <a:ea typeface="华文楷体" pitchFamily="2" charset="-122"/>
            </a:endParaRPr>
          </a:p>
        </p:txBody>
      </p:sp>
      <p:sp>
        <p:nvSpPr>
          <p:cNvPr id="10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321425"/>
            <a:ext cx="9906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endParaRPr lang="en-US" sz="2400">
              <a:solidFill>
                <a:schemeClr val="folHlink"/>
              </a:solidFill>
              <a:ea typeface="+mn-ea"/>
            </a:endParaRPr>
          </a:p>
        </p:txBody>
      </p:sp>
      <p:grpSp>
        <p:nvGrpSpPr>
          <p:cNvPr id="13" name="Group 78"/>
          <p:cNvGrpSpPr>
            <a:grpSpLocks/>
          </p:cNvGrpSpPr>
          <p:nvPr/>
        </p:nvGrpSpPr>
        <p:grpSpPr bwMode="auto">
          <a:xfrm>
            <a:off x="0" y="0"/>
            <a:ext cx="9906000" cy="6858000"/>
            <a:chOff x="0" y="0"/>
            <a:chExt cx="9906000" cy="6858000"/>
          </a:xfrm>
        </p:grpSpPr>
        <p:sp>
          <p:nvSpPr>
            <p:cNvPr id="14" name="Line 102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>
              <a:off x="0" y="747713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5" name="Line 95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53022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6" name="Line 99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937577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7" name="Line 100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0" y="196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8" name="Line 101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0" y="452438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9" name="Line 103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0" y="1720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</p:grpSp>
      <p:sp>
        <p:nvSpPr>
          <p:cNvPr id="20" name="Slide Number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444038" y="6481763"/>
            <a:ext cx="157162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spcBef>
                <a:spcPct val="0"/>
              </a:spcBef>
              <a:defRPr/>
            </a:pPr>
            <a:fld id="{DC920026-CFCC-49BE-9C4D-CDFF1818434D}" type="slidenum">
              <a:rPr lang="en-US" sz="10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pPr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21" name="Doc Code" descr="casecod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848350" y="6481763"/>
            <a:ext cx="3465513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>
              <a:defRPr sz="900" b="0" smtClean="0"/>
            </a:lvl1pPr>
          </a:lstStyle>
          <a:p>
            <a:pPr>
              <a:defRPr/>
            </a:pPr>
            <a:r>
              <a:rPr lang="zh-CN" altLang="en-US" sz="1000" dirty="0">
                <a:solidFill>
                  <a:schemeClr val="bg1"/>
                </a:solidFill>
                <a:latin typeface="Arial" pitchFamily="34" charset="0"/>
              </a:rPr>
              <a:t>北京和易达软件技术有限公司</a:t>
            </a:r>
            <a:r>
              <a:rPr lang="en-US" altLang="zh-CN" sz="1000" dirty="0">
                <a:solidFill>
                  <a:schemeClr val="bg1"/>
                </a:solidFill>
                <a:latin typeface="Arial" pitchFamily="34" charset="0"/>
              </a:rPr>
              <a:t>– </a:t>
            </a:r>
            <a:r>
              <a:rPr lang="zh-CN" altLang="en-US" sz="1000" dirty="0">
                <a:solidFill>
                  <a:schemeClr val="bg1"/>
                </a:solidFill>
                <a:latin typeface="Arial" pitchFamily="34" charset="0"/>
              </a:rPr>
              <a:t>龙湖架构</a:t>
            </a:r>
          </a:p>
        </p:txBody>
      </p:sp>
      <p:sp>
        <p:nvSpPr>
          <p:cNvPr id="22" name="Slide Number Line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9375775" y="6497638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zh-CN" altLang="en-US"/>
          </a:p>
        </p:txBody>
      </p:sp>
      <p:graphicFrame>
        <p:nvGraphicFramePr>
          <p:cNvPr id="2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8327" r:id="rId17" imgW="0" imgH="0" progId="">
              <p:embed/>
            </p:oleObj>
          </a:graphicData>
        </a:graphic>
      </p:graphicFrame>
      <p:pic>
        <p:nvPicPr>
          <p:cNvPr id="24" name="Picture 2" descr="D:\工作\和易达\公司logo1.png"/>
          <p:cNvPicPr>
            <a:picLocks noChangeAspect="1" noChangeArrowheads="1"/>
          </p:cNvPicPr>
          <p:nvPr userDrawn="1"/>
        </p:nvPicPr>
        <p:blipFill>
          <a:blip r:embed="rId18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4988" y="6450013"/>
            <a:ext cx="22288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00125"/>
            <a:ext cx="8535988" cy="661988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736600" y="1928813"/>
            <a:ext cx="4191000" cy="142154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080000" y="1928813"/>
            <a:ext cx="4192588" cy="142154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736600" y="3298825"/>
            <a:ext cx="8535988" cy="142154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21"/>
          <p:cNvSpPr>
            <a:spLocks noGrp="1"/>
          </p:cNvSpPr>
          <p:nvPr>
            <p:ph sz="quarter" idx="12"/>
          </p:nvPr>
        </p:nvSpPr>
        <p:spPr>
          <a:xfrm>
            <a:off x="0" y="0"/>
            <a:ext cx="9906000" cy="803297"/>
          </a:xfrm>
          <a:prstGeom prst="rect">
            <a:avLst/>
          </a:prstGeom>
        </p:spPr>
        <p:txBody>
          <a:bodyPr/>
          <a:lstStyle>
            <a:lvl1pPr marL="0" marR="0" indent="0" algn="l" defTabSz="9525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800" baseline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ontent Placeholder 21"/>
          <p:cNvSpPr>
            <a:spLocks noGrp="1"/>
          </p:cNvSpPr>
          <p:nvPr>
            <p:ph sz="quarter" idx="13"/>
          </p:nvPr>
        </p:nvSpPr>
        <p:spPr>
          <a:xfrm rot="10800000">
            <a:off x="0" y="6049008"/>
            <a:ext cx="9906000" cy="803297"/>
          </a:xfrm>
          <a:prstGeom prst="rect">
            <a:avLst/>
          </a:prstGeom>
        </p:spPr>
        <p:txBody>
          <a:bodyPr anchor="b"/>
          <a:lstStyle>
            <a:lvl1pPr marL="0" marR="0" indent="0" algn="l" defTabSz="9525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800" baseline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5" name="Footer Placeholder 22"/>
          <p:cNvSpPr>
            <a:spLocks noGrp="1"/>
          </p:cNvSpPr>
          <p:nvPr>
            <p:ph type="ftr" sz="quarter" idx="14"/>
            <p:custDataLst>
              <p:tags r:id="rId7"/>
            </p:custDataLst>
          </p:nvPr>
        </p:nvSpPr>
        <p:spPr>
          <a:xfrm>
            <a:off x="8499475" y="6867525"/>
            <a:ext cx="1262063" cy="3016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6" name="Slide Number Placeholder 28"/>
          <p:cNvSpPr>
            <a:spLocks noGrp="1"/>
          </p:cNvSpPr>
          <p:nvPr>
            <p:ph type="sldNum" sz="quarter" idx="15"/>
            <p:custDataLst>
              <p:tags r:id="rId8"/>
            </p:custDataLst>
          </p:nvPr>
        </p:nvSpPr>
        <p:spPr>
          <a:xfrm>
            <a:off x="9780588" y="6867525"/>
            <a:ext cx="119062" cy="3016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spcBef>
                <a:spcPct val="0"/>
              </a:spcBef>
              <a:defRPr sz="200" b="1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05C9B985-5851-4ED9-949B-D675D874C76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228863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9350" r:id="rId16" imgW="0" imgH="0" progId="">
              <p:embed/>
            </p:oleObj>
          </a:graphicData>
        </a:graphic>
      </p:graphicFrame>
      <p:sp>
        <p:nvSpPr>
          <p:cNvPr id="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flipH="1">
            <a:off x="0" y="620713"/>
            <a:ext cx="9906000" cy="920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00266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US" altLang="zh-CN" sz="2400">
              <a:solidFill>
                <a:srgbClr val="095095"/>
              </a:solidFill>
              <a:ea typeface="华文楷体" pitchFamily="2" charset="-122"/>
            </a:endParaRPr>
          </a:p>
        </p:txBody>
      </p:sp>
      <p:sp>
        <p:nvSpPr>
          <p:cNvPr id="9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321425"/>
            <a:ext cx="9906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endParaRPr lang="en-US" sz="2400">
              <a:solidFill>
                <a:schemeClr val="folHlink"/>
              </a:solidFill>
              <a:ea typeface="+mn-ea"/>
            </a:endParaRPr>
          </a:p>
        </p:txBody>
      </p:sp>
      <p:grpSp>
        <p:nvGrpSpPr>
          <p:cNvPr id="10" name="Group 78"/>
          <p:cNvGrpSpPr>
            <a:grpSpLocks/>
          </p:cNvGrpSpPr>
          <p:nvPr/>
        </p:nvGrpSpPr>
        <p:grpSpPr bwMode="auto">
          <a:xfrm>
            <a:off x="0" y="0"/>
            <a:ext cx="9906000" cy="6858000"/>
            <a:chOff x="0" y="0"/>
            <a:chExt cx="9906000" cy="6858000"/>
          </a:xfrm>
        </p:grpSpPr>
        <p:sp>
          <p:nvSpPr>
            <p:cNvPr id="13" name="Line 102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>
              <a:off x="0" y="747713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4" name="Line 95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53022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5" name="Line 99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937577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6" name="Line 100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0" y="196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7" name="Line 101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0" y="452438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8" name="Line 103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0" y="1720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</p:grpSp>
      <p:sp>
        <p:nvSpPr>
          <p:cNvPr id="19" name="Slide Number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444038" y="6481763"/>
            <a:ext cx="157162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spcBef>
                <a:spcPct val="0"/>
              </a:spcBef>
              <a:defRPr/>
            </a:pPr>
            <a:fld id="{211A9EEB-236B-4090-9764-6E0E12F91858}" type="slidenum">
              <a:rPr lang="en-US" sz="10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pPr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20" name="Doc Code" descr="casecod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848350" y="6481763"/>
            <a:ext cx="3465513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>
              <a:defRPr sz="900" b="0" smtClean="0"/>
            </a:lvl1pPr>
          </a:lstStyle>
          <a:p>
            <a:pPr>
              <a:defRPr/>
            </a:pPr>
            <a:r>
              <a:rPr lang="zh-CN" altLang="en-US" sz="1000" dirty="0">
                <a:solidFill>
                  <a:schemeClr val="bg1"/>
                </a:solidFill>
                <a:latin typeface="Arial" pitchFamily="34" charset="0"/>
              </a:rPr>
              <a:t>北京和易达软件技术有限公司</a:t>
            </a:r>
            <a:r>
              <a:rPr lang="en-US" altLang="zh-CN" sz="1000" dirty="0">
                <a:solidFill>
                  <a:schemeClr val="bg1"/>
                </a:solidFill>
                <a:latin typeface="Arial" pitchFamily="34" charset="0"/>
              </a:rPr>
              <a:t>– </a:t>
            </a:r>
            <a:r>
              <a:rPr lang="zh-CN" altLang="en-US" sz="1000" dirty="0">
                <a:solidFill>
                  <a:schemeClr val="bg1"/>
                </a:solidFill>
                <a:latin typeface="Arial" pitchFamily="34" charset="0"/>
              </a:rPr>
              <a:t>龙湖架构</a:t>
            </a:r>
          </a:p>
        </p:txBody>
      </p:sp>
      <p:sp>
        <p:nvSpPr>
          <p:cNvPr id="21" name="Slide Number Line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9375775" y="6497638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zh-CN" altLang="en-US"/>
          </a:p>
        </p:txBody>
      </p:sp>
      <p:graphicFrame>
        <p:nvGraphicFramePr>
          <p:cNvPr id="2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9351" r:id="rId17" imgW="0" imgH="0" progId="">
              <p:embed/>
            </p:oleObj>
          </a:graphicData>
        </a:graphic>
      </p:graphicFrame>
      <p:pic>
        <p:nvPicPr>
          <p:cNvPr id="23" name="Picture 2" descr="D:\工作\和易达\公司logo1.png"/>
          <p:cNvPicPr>
            <a:picLocks noChangeAspect="1" noChangeArrowheads="1"/>
          </p:cNvPicPr>
          <p:nvPr userDrawn="1"/>
        </p:nvPicPr>
        <p:blipFill>
          <a:blip r:embed="rId18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4988" y="6450013"/>
            <a:ext cx="22288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3425" y="1001712"/>
            <a:ext cx="8535988" cy="68421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210038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1" y="1600206"/>
            <a:ext cx="3835400" cy="210038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21"/>
          <p:cNvSpPr>
            <a:spLocks noGrp="1"/>
          </p:cNvSpPr>
          <p:nvPr>
            <p:ph sz="quarter" idx="12"/>
          </p:nvPr>
        </p:nvSpPr>
        <p:spPr>
          <a:xfrm>
            <a:off x="0" y="0"/>
            <a:ext cx="9906000" cy="803297"/>
          </a:xfrm>
          <a:prstGeom prst="rect">
            <a:avLst/>
          </a:prstGeom>
        </p:spPr>
        <p:txBody>
          <a:bodyPr/>
          <a:lstStyle>
            <a:lvl1pPr marL="0" marR="0" indent="0" algn="l" defTabSz="9525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800" baseline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ontent Placeholder 21"/>
          <p:cNvSpPr>
            <a:spLocks noGrp="1"/>
          </p:cNvSpPr>
          <p:nvPr>
            <p:ph sz="quarter" idx="13"/>
          </p:nvPr>
        </p:nvSpPr>
        <p:spPr>
          <a:xfrm rot="10800000">
            <a:off x="0" y="6049008"/>
            <a:ext cx="9906000" cy="803297"/>
          </a:xfrm>
          <a:prstGeom prst="rect">
            <a:avLst/>
          </a:prstGeom>
        </p:spPr>
        <p:txBody>
          <a:bodyPr anchor="b"/>
          <a:lstStyle>
            <a:lvl1pPr marL="0" marR="0" indent="0" algn="l" defTabSz="9525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800" baseline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4" name="Footer Placeholder 22"/>
          <p:cNvSpPr>
            <a:spLocks noGrp="1"/>
          </p:cNvSpPr>
          <p:nvPr>
            <p:ph type="ftr" sz="quarter" idx="14"/>
            <p:custDataLst>
              <p:tags r:id="rId7"/>
            </p:custDataLst>
          </p:nvPr>
        </p:nvSpPr>
        <p:spPr>
          <a:xfrm>
            <a:off x="8499475" y="6867525"/>
            <a:ext cx="1262063" cy="3016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spcBef>
                <a:spcPct val="0"/>
              </a:spcBef>
              <a:defRPr sz="200" b="0">
                <a:solidFill>
                  <a:srgbClr val="FFFFFF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5" name="Slide Number Placeholder 28"/>
          <p:cNvSpPr>
            <a:spLocks noGrp="1"/>
          </p:cNvSpPr>
          <p:nvPr>
            <p:ph type="sldNum" sz="quarter" idx="15"/>
            <p:custDataLst>
              <p:tags r:id="rId8"/>
            </p:custDataLst>
          </p:nvPr>
        </p:nvSpPr>
        <p:spPr>
          <a:xfrm>
            <a:off x="9780588" y="6867525"/>
            <a:ext cx="119062" cy="30163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spcBef>
                <a:spcPct val="0"/>
              </a:spcBef>
              <a:defRPr sz="200" b="1">
                <a:solidFill>
                  <a:srgbClr val="FFFFFF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</a:lstStyle>
          <a:p>
            <a:pPr>
              <a:defRPr/>
            </a:pPr>
            <a:fld id="{9F75D6FB-2C36-46EC-A9FF-D375FC8B00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90782840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0374" r:id="rId16" imgW="0" imgH="0" progId="">
              <p:embed/>
            </p:oleObj>
          </a:graphicData>
        </a:graphic>
      </p:graphicFrame>
      <p:sp>
        <p:nvSpPr>
          <p:cNvPr id="10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flipH="1">
            <a:off x="0" y="620713"/>
            <a:ext cx="9906000" cy="920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00266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US" altLang="zh-CN" sz="2400">
              <a:solidFill>
                <a:srgbClr val="095095"/>
              </a:solidFill>
              <a:ea typeface="华文楷体" pitchFamily="2" charset="-122"/>
            </a:endParaRPr>
          </a:p>
        </p:txBody>
      </p:sp>
      <p:sp>
        <p:nvSpPr>
          <p:cNvPr id="11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321425"/>
            <a:ext cx="9906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endParaRPr lang="en-US" sz="2400">
              <a:solidFill>
                <a:schemeClr val="folHlink"/>
              </a:solidFill>
              <a:ea typeface="+mn-ea"/>
            </a:endParaRPr>
          </a:p>
        </p:txBody>
      </p:sp>
      <p:grpSp>
        <p:nvGrpSpPr>
          <p:cNvPr id="12" name="Group 78"/>
          <p:cNvGrpSpPr>
            <a:grpSpLocks/>
          </p:cNvGrpSpPr>
          <p:nvPr/>
        </p:nvGrpSpPr>
        <p:grpSpPr bwMode="auto">
          <a:xfrm>
            <a:off x="0" y="0"/>
            <a:ext cx="9906000" cy="6858000"/>
            <a:chOff x="0" y="0"/>
            <a:chExt cx="9906000" cy="6858000"/>
          </a:xfrm>
        </p:grpSpPr>
        <p:sp>
          <p:nvSpPr>
            <p:cNvPr id="15" name="Line 102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>
              <a:off x="0" y="747713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6" name="Line 95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53022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7" name="Line 99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937577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8" name="Line 100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0" y="196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9" name="Line 101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0" y="452438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20" name="Line 103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0" y="1720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</p:grpSp>
      <p:sp>
        <p:nvSpPr>
          <p:cNvPr id="21" name="Slide Number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444038" y="6481763"/>
            <a:ext cx="157162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spcBef>
                <a:spcPct val="0"/>
              </a:spcBef>
              <a:defRPr/>
            </a:pPr>
            <a:fld id="{9E1670A4-B32F-4840-8FBF-F21606B44947}" type="slidenum">
              <a:rPr lang="en-US" sz="10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pPr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22" name="Doc Code" descr="casecod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848350" y="6481763"/>
            <a:ext cx="3465513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>
              <a:defRPr sz="900" b="0" smtClean="0"/>
            </a:lvl1pPr>
          </a:lstStyle>
          <a:p>
            <a:pPr>
              <a:defRPr/>
            </a:pPr>
            <a:r>
              <a:rPr lang="zh-CN" altLang="en-US" sz="1000" dirty="0">
                <a:solidFill>
                  <a:schemeClr val="bg1"/>
                </a:solidFill>
                <a:latin typeface="Arial" pitchFamily="34" charset="0"/>
              </a:rPr>
              <a:t>北京和易达软件技术有限公司</a:t>
            </a:r>
            <a:r>
              <a:rPr lang="en-US" altLang="zh-CN" sz="1000" dirty="0">
                <a:solidFill>
                  <a:schemeClr val="bg1"/>
                </a:solidFill>
                <a:latin typeface="Arial" pitchFamily="34" charset="0"/>
              </a:rPr>
              <a:t>– </a:t>
            </a:r>
            <a:r>
              <a:rPr lang="zh-CN" altLang="en-US" sz="1000" dirty="0">
                <a:solidFill>
                  <a:schemeClr val="bg1"/>
                </a:solidFill>
                <a:latin typeface="Arial" pitchFamily="34" charset="0"/>
              </a:rPr>
              <a:t>龙湖架构</a:t>
            </a:r>
          </a:p>
        </p:txBody>
      </p:sp>
      <p:sp>
        <p:nvSpPr>
          <p:cNvPr id="23" name="Slide Number Line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9375775" y="6497638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zh-CN" altLang="en-US"/>
          </a:p>
        </p:txBody>
      </p:sp>
      <p:graphicFrame>
        <p:nvGraphicFramePr>
          <p:cNvPr id="2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0375" r:id="rId17" imgW="0" imgH="0" progId="">
              <p:embed/>
            </p:oleObj>
          </a:graphicData>
        </a:graphic>
      </p:graphicFrame>
      <p:pic>
        <p:nvPicPr>
          <p:cNvPr id="25" name="Picture 2" descr="D:\工作\和易达\公司logo1.png"/>
          <p:cNvPicPr>
            <a:picLocks noChangeAspect="1" noChangeArrowheads="1"/>
          </p:cNvPicPr>
          <p:nvPr userDrawn="1"/>
        </p:nvPicPr>
        <p:blipFill>
          <a:blip r:embed="rId18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4988" y="6450013"/>
            <a:ext cx="22288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34349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149919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34349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149919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Content Placeholder 21"/>
          <p:cNvSpPr>
            <a:spLocks noGrp="1"/>
          </p:cNvSpPr>
          <p:nvPr>
            <p:ph sz="quarter" idx="12"/>
          </p:nvPr>
        </p:nvSpPr>
        <p:spPr>
          <a:xfrm>
            <a:off x="0" y="0"/>
            <a:ext cx="9906000" cy="803297"/>
          </a:xfrm>
          <a:prstGeom prst="rect">
            <a:avLst/>
          </a:prstGeom>
        </p:spPr>
        <p:txBody>
          <a:bodyPr/>
          <a:lstStyle>
            <a:lvl1pPr marL="0" marR="0" indent="0" algn="l" defTabSz="9525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800" baseline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21"/>
          <p:cNvSpPr>
            <a:spLocks noGrp="1"/>
          </p:cNvSpPr>
          <p:nvPr>
            <p:ph sz="quarter" idx="13"/>
          </p:nvPr>
        </p:nvSpPr>
        <p:spPr>
          <a:xfrm rot="10800000">
            <a:off x="0" y="6080114"/>
            <a:ext cx="9906000" cy="803297"/>
          </a:xfrm>
          <a:prstGeom prst="rect">
            <a:avLst/>
          </a:prstGeom>
        </p:spPr>
        <p:txBody>
          <a:bodyPr anchor="b"/>
          <a:lstStyle>
            <a:lvl1pPr marL="0" marR="0" indent="0" algn="l" defTabSz="9525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800" baseline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6" name="Footer Placeholder 22"/>
          <p:cNvSpPr>
            <a:spLocks noGrp="1"/>
          </p:cNvSpPr>
          <p:nvPr>
            <p:ph type="ftr" sz="quarter" idx="14"/>
            <p:custDataLst>
              <p:tags r:id="rId7"/>
            </p:custDataLst>
          </p:nvPr>
        </p:nvSpPr>
        <p:spPr>
          <a:xfrm>
            <a:off x="8499475" y="6867525"/>
            <a:ext cx="1262063" cy="3016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spcBef>
                <a:spcPct val="0"/>
              </a:spcBef>
              <a:defRPr sz="200" b="0">
                <a:solidFill>
                  <a:srgbClr val="FFFFFF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7" name="Slide Number Placeholder 28"/>
          <p:cNvSpPr>
            <a:spLocks noGrp="1"/>
          </p:cNvSpPr>
          <p:nvPr>
            <p:ph type="sldNum" sz="quarter" idx="15"/>
            <p:custDataLst>
              <p:tags r:id="rId8"/>
            </p:custDataLst>
          </p:nvPr>
        </p:nvSpPr>
        <p:spPr>
          <a:xfrm>
            <a:off x="9780588" y="6867525"/>
            <a:ext cx="119062" cy="30163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spcBef>
                <a:spcPct val="0"/>
              </a:spcBef>
              <a:defRPr sz="200" b="1">
                <a:solidFill>
                  <a:srgbClr val="FFFFFF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</a:lstStyle>
          <a:p>
            <a:pPr>
              <a:defRPr/>
            </a:pPr>
            <a:fld id="{437A0109-18E7-469D-B799-FE4EF30786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973504428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1398" r:id="rId16" imgW="0" imgH="0" progId="">
              <p:embed/>
            </p:oleObj>
          </a:graphicData>
        </a:graphic>
      </p:graphicFrame>
      <p:sp>
        <p:nvSpPr>
          <p:cNvPr id="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flipH="1">
            <a:off x="0" y="620713"/>
            <a:ext cx="9906000" cy="920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00266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US" altLang="zh-CN" sz="2400">
              <a:solidFill>
                <a:srgbClr val="095095"/>
              </a:solidFill>
              <a:ea typeface="华文楷体" pitchFamily="2" charset="-122"/>
            </a:endParaRPr>
          </a:p>
        </p:txBody>
      </p:sp>
      <p:sp>
        <p:nvSpPr>
          <p:cNvPr id="9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321425"/>
            <a:ext cx="9906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endParaRPr lang="en-US" sz="2400">
              <a:solidFill>
                <a:schemeClr val="folHlink"/>
              </a:solidFill>
              <a:ea typeface="+mn-ea"/>
            </a:endParaRPr>
          </a:p>
        </p:txBody>
      </p:sp>
      <p:grpSp>
        <p:nvGrpSpPr>
          <p:cNvPr id="12" name="Group 78"/>
          <p:cNvGrpSpPr>
            <a:grpSpLocks/>
          </p:cNvGrpSpPr>
          <p:nvPr/>
        </p:nvGrpSpPr>
        <p:grpSpPr bwMode="auto">
          <a:xfrm>
            <a:off x="0" y="0"/>
            <a:ext cx="9906000" cy="6858000"/>
            <a:chOff x="0" y="0"/>
            <a:chExt cx="9906000" cy="6858000"/>
          </a:xfrm>
        </p:grpSpPr>
        <p:sp>
          <p:nvSpPr>
            <p:cNvPr id="13" name="Line 102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>
              <a:off x="0" y="747713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4" name="Line 95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53022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5" name="Line 99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937577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6" name="Line 100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0" y="196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7" name="Line 101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0" y="452438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8" name="Line 103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0" y="1720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</p:grpSp>
      <p:sp>
        <p:nvSpPr>
          <p:cNvPr id="19" name="Slide Number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444038" y="6481763"/>
            <a:ext cx="157162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spcBef>
                <a:spcPct val="0"/>
              </a:spcBef>
              <a:defRPr/>
            </a:pPr>
            <a:fld id="{039F3814-1D07-4614-BEEB-3114D709D05E}" type="slidenum">
              <a:rPr lang="en-US" sz="10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pPr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20" name="Doc Code" descr="casecod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848350" y="6481763"/>
            <a:ext cx="3465513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>
              <a:defRPr sz="900" b="0" smtClean="0"/>
            </a:lvl1pPr>
          </a:lstStyle>
          <a:p>
            <a:pPr>
              <a:defRPr/>
            </a:pPr>
            <a:r>
              <a:rPr lang="zh-CN" altLang="en-US" sz="1000" dirty="0">
                <a:solidFill>
                  <a:schemeClr val="bg1"/>
                </a:solidFill>
                <a:latin typeface="Arial" pitchFamily="34" charset="0"/>
              </a:rPr>
              <a:t>北京和易达软件技术有限公司</a:t>
            </a:r>
            <a:r>
              <a:rPr lang="en-US" altLang="zh-CN" sz="1000" dirty="0">
                <a:solidFill>
                  <a:schemeClr val="bg1"/>
                </a:solidFill>
                <a:latin typeface="Arial" pitchFamily="34" charset="0"/>
              </a:rPr>
              <a:t>– </a:t>
            </a:r>
            <a:r>
              <a:rPr lang="zh-CN" altLang="en-US" sz="1000" dirty="0">
                <a:solidFill>
                  <a:schemeClr val="bg1"/>
                </a:solidFill>
                <a:latin typeface="Arial" pitchFamily="34" charset="0"/>
              </a:rPr>
              <a:t>龙湖架构</a:t>
            </a:r>
          </a:p>
        </p:txBody>
      </p:sp>
      <p:sp>
        <p:nvSpPr>
          <p:cNvPr id="21" name="Slide Number Line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9375775" y="6497638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zh-CN" altLang="en-US"/>
          </a:p>
        </p:txBody>
      </p:sp>
      <p:graphicFrame>
        <p:nvGraphicFramePr>
          <p:cNvPr id="2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1399" r:id="rId17" imgW="0" imgH="0" progId="">
              <p:embed/>
            </p:oleObj>
          </a:graphicData>
        </a:graphic>
      </p:graphicFrame>
      <p:pic>
        <p:nvPicPr>
          <p:cNvPr id="23" name="Picture 2" descr="D:\工作\和易达\公司logo1.png"/>
          <p:cNvPicPr>
            <a:picLocks noChangeAspect="1" noChangeArrowheads="1"/>
          </p:cNvPicPr>
          <p:nvPr userDrawn="1"/>
        </p:nvPicPr>
        <p:blipFill>
          <a:blip r:embed="rId18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4988" y="6450013"/>
            <a:ext cx="22288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63"/>
            <a:ext cx="5537729" cy="238648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2003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Content Placeholder 21"/>
          <p:cNvSpPr>
            <a:spLocks noGrp="1"/>
          </p:cNvSpPr>
          <p:nvPr>
            <p:ph sz="quarter" idx="12"/>
          </p:nvPr>
        </p:nvSpPr>
        <p:spPr>
          <a:xfrm>
            <a:off x="0" y="0"/>
            <a:ext cx="9906000" cy="803297"/>
          </a:xfrm>
          <a:prstGeom prst="rect">
            <a:avLst/>
          </a:prstGeom>
        </p:spPr>
        <p:txBody>
          <a:bodyPr/>
          <a:lstStyle>
            <a:lvl1pPr marL="0" marR="0" indent="0" algn="l" defTabSz="9525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800" baseline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1"/>
          <p:cNvSpPr>
            <a:spLocks noGrp="1"/>
          </p:cNvSpPr>
          <p:nvPr>
            <p:ph sz="quarter" idx="13"/>
          </p:nvPr>
        </p:nvSpPr>
        <p:spPr>
          <a:xfrm rot="10800000">
            <a:off x="0" y="6049008"/>
            <a:ext cx="9906000" cy="803297"/>
          </a:xfrm>
          <a:prstGeom prst="rect">
            <a:avLst/>
          </a:prstGeom>
        </p:spPr>
        <p:txBody>
          <a:bodyPr anchor="b"/>
          <a:lstStyle>
            <a:lvl1pPr marL="0" marR="0" indent="0" algn="l" defTabSz="9525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800" baseline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4" name="Footer Placeholder 22"/>
          <p:cNvSpPr>
            <a:spLocks noGrp="1"/>
          </p:cNvSpPr>
          <p:nvPr>
            <p:ph type="ftr" sz="quarter" idx="14"/>
            <p:custDataLst>
              <p:tags r:id="rId7"/>
            </p:custDataLst>
          </p:nvPr>
        </p:nvSpPr>
        <p:spPr>
          <a:xfrm>
            <a:off x="8499475" y="6867525"/>
            <a:ext cx="1262063" cy="3016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spcBef>
                <a:spcPct val="0"/>
              </a:spcBef>
              <a:defRPr sz="200" b="0">
                <a:solidFill>
                  <a:srgbClr val="FFFFFF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5" name="Slide Number Placeholder 28"/>
          <p:cNvSpPr>
            <a:spLocks noGrp="1"/>
          </p:cNvSpPr>
          <p:nvPr>
            <p:ph type="sldNum" sz="quarter" idx="15"/>
            <p:custDataLst>
              <p:tags r:id="rId8"/>
            </p:custDataLst>
          </p:nvPr>
        </p:nvSpPr>
        <p:spPr>
          <a:xfrm>
            <a:off x="9780588" y="6867525"/>
            <a:ext cx="119062" cy="30163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spcBef>
                <a:spcPct val="0"/>
              </a:spcBef>
              <a:defRPr sz="200" b="1">
                <a:solidFill>
                  <a:srgbClr val="FFFFFF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</a:lstStyle>
          <a:p>
            <a:pPr>
              <a:defRPr/>
            </a:pPr>
            <a:fld id="{43172A47-4E33-4154-BD55-1ABEDB3E07D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228502891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422" r:id="rId16" imgW="0" imgH="0" progId="">
              <p:embed/>
            </p:oleObj>
          </a:graphicData>
        </a:graphic>
      </p:graphicFrame>
      <p:sp>
        <p:nvSpPr>
          <p:cNvPr id="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flipH="1">
            <a:off x="0" y="620713"/>
            <a:ext cx="9906000" cy="920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00266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US" altLang="zh-CN" sz="2400">
              <a:solidFill>
                <a:srgbClr val="095095"/>
              </a:solidFill>
              <a:ea typeface="华文楷体" pitchFamily="2" charset="-122"/>
            </a:endParaRPr>
          </a:p>
        </p:txBody>
      </p:sp>
      <p:sp>
        <p:nvSpPr>
          <p:cNvPr id="9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321425"/>
            <a:ext cx="9906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endParaRPr lang="en-US" sz="2400">
              <a:solidFill>
                <a:schemeClr val="folHlink"/>
              </a:solidFill>
              <a:ea typeface="+mn-ea"/>
            </a:endParaRPr>
          </a:p>
        </p:txBody>
      </p:sp>
      <p:grpSp>
        <p:nvGrpSpPr>
          <p:cNvPr id="12" name="Group 78"/>
          <p:cNvGrpSpPr>
            <a:grpSpLocks/>
          </p:cNvGrpSpPr>
          <p:nvPr/>
        </p:nvGrpSpPr>
        <p:grpSpPr bwMode="auto">
          <a:xfrm>
            <a:off x="0" y="0"/>
            <a:ext cx="9906000" cy="6858000"/>
            <a:chOff x="0" y="0"/>
            <a:chExt cx="9906000" cy="6858000"/>
          </a:xfrm>
        </p:grpSpPr>
        <p:sp>
          <p:nvSpPr>
            <p:cNvPr id="13" name="Line 102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>
              <a:off x="0" y="747713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4" name="Line 95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53022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5" name="Line 99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937577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6" name="Line 100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0" y="196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7" name="Line 101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0" y="452438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8" name="Line 103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0" y="1720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</p:grpSp>
      <p:sp>
        <p:nvSpPr>
          <p:cNvPr id="19" name="Slide Number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444038" y="6481763"/>
            <a:ext cx="157162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spcBef>
                <a:spcPct val="0"/>
              </a:spcBef>
              <a:defRPr/>
            </a:pPr>
            <a:fld id="{E6278587-7A7F-4813-A19D-E78EE3E434BD}" type="slidenum">
              <a:rPr lang="en-US" sz="10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pPr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20" name="Doc Code" descr="casecod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848350" y="6481763"/>
            <a:ext cx="3465513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>
              <a:defRPr sz="900" b="0" smtClean="0"/>
            </a:lvl1pPr>
          </a:lstStyle>
          <a:p>
            <a:pPr>
              <a:defRPr/>
            </a:pPr>
            <a:r>
              <a:rPr lang="zh-CN" altLang="en-US" sz="1000" dirty="0">
                <a:solidFill>
                  <a:schemeClr val="bg1"/>
                </a:solidFill>
                <a:latin typeface="Arial" pitchFamily="34" charset="0"/>
              </a:rPr>
              <a:t>北京和易达软件技术有限公司</a:t>
            </a:r>
            <a:r>
              <a:rPr lang="en-US" altLang="zh-CN" sz="1000" dirty="0">
                <a:solidFill>
                  <a:schemeClr val="bg1"/>
                </a:solidFill>
                <a:latin typeface="Arial" pitchFamily="34" charset="0"/>
              </a:rPr>
              <a:t>– </a:t>
            </a:r>
            <a:r>
              <a:rPr lang="zh-CN" altLang="en-US" sz="1000" dirty="0">
                <a:solidFill>
                  <a:schemeClr val="bg1"/>
                </a:solidFill>
                <a:latin typeface="Arial" pitchFamily="34" charset="0"/>
              </a:rPr>
              <a:t>龙湖架构</a:t>
            </a:r>
          </a:p>
        </p:txBody>
      </p:sp>
      <p:sp>
        <p:nvSpPr>
          <p:cNvPr id="21" name="Slide Number Line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9375775" y="6497638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zh-CN" altLang="en-US"/>
          </a:p>
        </p:txBody>
      </p:sp>
      <p:graphicFrame>
        <p:nvGraphicFramePr>
          <p:cNvPr id="2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423" r:id="rId17" imgW="0" imgH="0" progId="">
              <p:embed/>
            </p:oleObj>
          </a:graphicData>
        </a:graphic>
      </p:graphicFrame>
      <p:pic>
        <p:nvPicPr>
          <p:cNvPr id="23" name="Picture 2" descr="D:\工作\和易达\公司logo1.png"/>
          <p:cNvPicPr>
            <a:picLocks noChangeAspect="1" noChangeArrowheads="1"/>
          </p:cNvPicPr>
          <p:nvPr userDrawn="1"/>
        </p:nvPicPr>
        <p:blipFill>
          <a:blip r:embed="rId18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4988" y="6450013"/>
            <a:ext cx="22288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57946"/>
          </a:xfrm>
          <a:prstGeom prst="rect">
            <a:avLst/>
          </a:prstGeom>
        </p:spPr>
        <p:txBody>
          <a:bodyPr rtlCol="0">
            <a:no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2003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Content Placeholder 21"/>
          <p:cNvSpPr>
            <a:spLocks noGrp="1"/>
          </p:cNvSpPr>
          <p:nvPr>
            <p:ph sz="quarter" idx="12"/>
          </p:nvPr>
        </p:nvSpPr>
        <p:spPr>
          <a:xfrm>
            <a:off x="0" y="0"/>
            <a:ext cx="9906000" cy="803297"/>
          </a:xfrm>
          <a:prstGeom prst="rect">
            <a:avLst/>
          </a:prstGeom>
        </p:spPr>
        <p:txBody>
          <a:bodyPr/>
          <a:lstStyle>
            <a:lvl1pPr marL="0" marR="0" indent="0" algn="l" defTabSz="9525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800" baseline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1"/>
          <p:cNvSpPr>
            <a:spLocks noGrp="1"/>
          </p:cNvSpPr>
          <p:nvPr>
            <p:ph sz="quarter" idx="13"/>
          </p:nvPr>
        </p:nvSpPr>
        <p:spPr>
          <a:xfrm rot="10800000">
            <a:off x="0" y="6049008"/>
            <a:ext cx="9906000" cy="803297"/>
          </a:xfrm>
          <a:prstGeom prst="rect">
            <a:avLst/>
          </a:prstGeom>
        </p:spPr>
        <p:txBody>
          <a:bodyPr anchor="b"/>
          <a:lstStyle>
            <a:lvl1pPr marL="0" marR="0" indent="0" algn="l" defTabSz="9525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800" baseline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4" name="Footer Placeholder 22"/>
          <p:cNvSpPr>
            <a:spLocks noGrp="1"/>
          </p:cNvSpPr>
          <p:nvPr>
            <p:ph type="ftr" sz="quarter" idx="14"/>
            <p:custDataLst>
              <p:tags r:id="rId7"/>
            </p:custDataLst>
          </p:nvPr>
        </p:nvSpPr>
        <p:spPr>
          <a:xfrm>
            <a:off x="8499475" y="6867525"/>
            <a:ext cx="1262063" cy="3016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spcBef>
                <a:spcPct val="0"/>
              </a:spcBef>
              <a:defRPr sz="200" b="0">
                <a:solidFill>
                  <a:srgbClr val="FFFFFF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5" name="Slide Number Placeholder 28"/>
          <p:cNvSpPr>
            <a:spLocks noGrp="1"/>
          </p:cNvSpPr>
          <p:nvPr>
            <p:ph type="sldNum" sz="quarter" idx="15"/>
            <p:custDataLst>
              <p:tags r:id="rId8"/>
            </p:custDataLst>
          </p:nvPr>
        </p:nvSpPr>
        <p:spPr>
          <a:xfrm>
            <a:off x="9780588" y="6867525"/>
            <a:ext cx="119062" cy="30163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spcBef>
                <a:spcPct val="0"/>
              </a:spcBef>
              <a:defRPr sz="200" b="1">
                <a:solidFill>
                  <a:srgbClr val="FFFFFF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</a:lstStyle>
          <a:p>
            <a:pPr>
              <a:defRPr/>
            </a:pPr>
            <a:fld id="{57060C5B-D9E9-44EE-90ED-267DF57D1FB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80372915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F7039B-BD47-4444-852D-439513C3FF97}" type="datetimeFigureOut">
              <a:rPr lang="zh-CN" altLang="en-US"/>
              <a:pPr>
                <a:defRPr/>
              </a:pPr>
              <a:t>2012/12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16EA4E-7BEA-4C02-AE19-67B52E3466E4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13406913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4FD320-34D7-4E02-AD41-FAA30B4DA025}" type="datetimeFigureOut">
              <a:rPr lang="zh-CN" altLang="en-US"/>
              <a:pPr>
                <a:defRPr/>
              </a:pPr>
              <a:t>2012/12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04121D-443D-4EE8-A592-17AD5D793477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11679184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7062" r:id="rId9" imgW="0" imgH="0" progId="">
              <p:embed/>
            </p:oleObj>
          </a:graphicData>
        </a:graphic>
      </p:graphicFrame>
      <p:sp>
        <p:nvSpPr>
          <p:cNvPr id="5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flipH="1">
            <a:off x="0" y="620713"/>
            <a:ext cx="9906000" cy="920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00266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US" altLang="zh-CN" sz="2400">
              <a:solidFill>
                <a:srgbClr val="095095"/>
              </a:solidFill>
              <a:ea typeface="华文楷体" pitchFamily="2" charset="-122"/>
            </a:endParaRPr>
          </a:p>
        </p:txBody>
      </p:sp>
      <p:sp>
        <p:nvSpPr>
          <p:cNvPr id="6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321425"/>
            <a:ext cx="9906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endParaRPr lang="en-US" sz="2400">
              <a:solidFill>
                <a:schemeClr val="folHlink"/>
              </a:solidFill>
              <a:ea typeface="+mn-ea"/>
            </a:endParaRPr>
          </a:p>
        </p:txBody>
      </p:sp>
      <p:sp>
        <p:nvSpPr>
          <p:cNvPr id="7" name="Slide Number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444038" y="6481763"/>
            <a:ext cx="157162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spcBef>
                <a:spcPct val="0"/>
              </a:spcBef>
              <a:defRPr/>
            </a:pPr>
            <a:fld id="{DA22D39F-7C61-4B4E-B709-48F0EA33760C}" type="slidenum">
              <a:rPr lang="en-US" sz="10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pPr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8" name="Doc Code" descr="casecod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848350" y="6481763"/>
            <a:ext cx="34655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1pPr>
            <a:lvl2pPr marL="742950" indent="-285750"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2pPr>
            <a:lvl3pPr marL="1143000" indent="-228600"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3pPr>
            <a:lvl4pPr marL="1600200" indent="-228600"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4pPr>
            <a:lvl5pPr marL="2057400" indent="-228600"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9pPr>
          </a:lstStyle>
          <a:p>
            <a:pPr algn="r" eaLnBrk="1" hangingPunct="1">
              <a:defRPr/>
            </a:pPr>
            <a:r>
              <a:rPr lang="zh-CN" altLang="en-US" sz="1000" b="0" dirty="0" smtClean="0">
                <a:solidFill>
                  <a:schemeClr val="bg1"/>
                </a:solidFill>
              </a:rPr>
              <a:t>北京和易达软件技术有限公司</a:t>
            </a:r>
            <a:r>
              <a:rPr lang="en-US" altLang="zh-CN" sz="1000" b="0" dirty="0" smtClean="0">
                <a:solidFill>
                  <a:schemeClr val="bg1"/>
                </a:solidFill>
              </a:rPr>
              <a:t>– </a:t>
            </a:r>
            <a:r>
              <a:rPr lang="zh-CN" altLang="en-US" sz="1000" b="0" dirty="0" smtClean="0">
                <a:solidFill>
                  <a:schemeClr val="bg1"/>
                </a:solidFill>
              </a:rPr>
              <a:t>龙湖架构</a:t>
            </a:r>
          </a:p>
        </p:txBody>
      </p:sp>
      <p:sp>
        <p:nvSpPr>
          <p:cNvPr id="9" name="Slide Number Line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9375775" y="6497638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zh-CN" altLang="en-US"/>
          </a:p>
        </p:txBody>
      </p:sp>
      <p:graphicFrame>
        <p:nvGraphicFramePr>
          <p:cNvPr id="11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7063" r:id="rId10" imgW="0" imgH="0" progId="">
              <p:embed/>
            </p:oleObj>
          </a:graphicData>
        </a:graphic>
      </p:graphicFrame>
      <p:sp>
        <p:nvSpPr>
          <p:cNvPr id="12" name="Note: Exclusive dealing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34988" y="6013450"/>
            <a:ext cx="8840787" cy="2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>
              <a:spcBef>
                <a:spcPct val="0"/>
              </a:spcBef>
              <a:defRPr/>
            </a:pPr>
            <a:r>
              <a:rPr kumimoji="1" lang="zh-CN" altLang="en-US" smtClean="0">
                <a:ea typeface="华文楷体" pitchFamily="2" charset="-122"/>
                <a:cs typeface="Arial" charset="0"/>
              </a:rPr>
              <a:t>版权声明</a:t>
            </a:r>
            <a:endParaRPr kumimoji="1" lang="en-US" altLang="zh-CN" smtClean="0">
              <a:ea typeface="华文楷体" pitchFamily="2" charset="-122"/>
              <a:cs typeface="Arial" charset="0"/>
            </a:endParaRPr>
          </a:p>
          <a:p>
            <a:pPr>
              <a:spcBef>
                <a:spcPct val="0"/>
              </a:spcBef>
              <a:defRPr/>
            </a:pPr>
            <a:endParaRPr kumimoji="1" lang="en-US" altLang="de-DE" smtClean="0">
              <a:ea typeface="华文楷体" pitchFamily="2" charset="-122"/>
              <a:cs typeface="Arial" charset="0"/>
            </a:endParaRPr>
          </a:p>
          <a:p>
            <a:pPr>
              <a:spcBef>
                <a:spcPct val="0"/>
              </a:spcBef>
              <a:defRPr/>
            </a:pPr>
            <a:r>
              <a:rPr kumimoji="1" lang="en-US" altLang="de-DE" smtClean="0">
                <a:ea typeface="华文楷体" pitchFamily="2" charset="-122"/>
                <a:cs typeface="Arial" charset="0"/>
              </a:rPr>
              <a:t>© 2012   </a:t>
            </a:r>
            <a:r>
              <a:rPr kumimoji="1" lang="zh-CN" altLang="en-US" smtClean="0">
                <a:ea typeface="华文楷体" pitchFamily="2" charset="-122"/>
                <a:cs typeface="Arial" charset="0"/>
              </a:rPr>
              <a:t>北京和易达软件技术有限公司</a:t>
            </a:r>
            <a:endParaRPr kumimoji="1" lang="en-US" altLang="de-DE" smtClean="0">
              <a:ea typeface="华文楷体" pitchFamily="2" charset="-122"/>
              <a:cs typeface="Arial" charset="0"/>
            </a:endParaRPr>
          </a:p>
        </p:txBody>
      </p:sp>
      <p:pic>
        <p:nvPicPr>
          <p:cNvPr id="14" name="Picture 2" descr="D:\工作\和易达\公司logo1.png"/>
          <p:cNvPicPr>
            <a:picLocks noChangeAspect="1" noChangeArrowheads="1"/>
          </p:cNvPicPr>
          <p:nvPr userDrawn="1"/>
        </p:nvPicPr>
        <p:blipFill>
          <a:blip r:embed="rId11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4988" y="6450013"/>
            <a:ext cx="22288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Placeholder 27"/>
          <p:cNvSpPr>
            <a:spLocks noGrp="1"/>
          </p:cNvSpPr>
          <p:nvPr>
            <p:ph type="title"/>
          </p:nvPr>
        </p:nvSpPr>
        <p:spPr>
          <a:xfrm>
            <a:off x="534989" y="747941"/>
            <a:ext cx="8840785" cy="72916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tabLst>
                <a:tab pos="8791575" algn="r"/>
              </a:tabLst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34989" y="1717675"/>
            <a:ext cx="8840785" cy="2241550"/>
          </a:xfrm>
        </p:spPr>
        <p:txBody>
          <a:bodyPr/>
          <a:lstStyle>
            <a:lvl1pPr>
              <a:tabLst>
                <a:tab pos="8791575" algn="r"/>
              </a:tabLst>
              <a:defRPr b="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793883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0208EC-3B72-41A7-B6ED-FE9BB20EB286}" type="datetimeFigureOut">
              <a:rPr lang="zh-CN" altLang="en-US"/>
              <a:pPr>
                <a:defRPr/>
              </a:pPr>
              <a:t>2012/12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F979B1-48BA-49FD-953A-8B4FBA38AB19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7192549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59FCB6-B546-4909-BEC7-610EE01A290A}" type="datetimeFigureOut">
              <a:rPr lang="zh-CN" altLang="en-US"/>
              <a:pPr>
                <a:defRPr/>
              </a:pPr>
              <a:t>2012/12/15</a:t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D8BFD5-6512-40F4-8627-144AA0C162A2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817510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C2ACC3-EC12-4964-A78B-88BEE05BD961}" type="datetimeFigureOut">
              <a:rPr lang="zh-CN" altLang="en-US"/>
              <a:pPr>
                <a:defRPr/>
              </a:pPr>
              <a:t>2012/12/15</a:t>
            </a:fld>
            <a:endParaRPr lang="zh-CN" altLang="en-US"/>
          </a:p>
        </p:txBody>
      </p:sp>
      <p:sp>
        <p:nvSpPr>
          <p:cNvPr id="8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FC5EA0-8EF9-4BC7-99F8-B7BF95286737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22525994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ADED6A-562B-45A1-8407-C066ED49F021}" type="datetimeFigureOut">
              <a:rPr lang="zh-CN" altLang="en-US"/>
              <a:pPr>
                <a:defRPr/>
              </a:pPr>
              <a:t>2012/12/15</a:t>
            </a:fld>
            <a:endParaRPr lang="zh-CN" altLang="en-US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8004A4-2ACA-4198-B8F2-FACA0054D209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21970157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ABE53A-775F-4DFF-9847-AE0962ADD426}" type="datetimeFigureOut">
              <a:rPr lang="zh-CN" altLang="en-US"/>
              <a:pPr>
                <a:defRPr/>
              </a:pPr>
              <a:t>2012/12/15</a:t>
            </a:fld>
            <a:endParaRPr lang="zh-CN" altLang="en-US"/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5E84A6-012C-4FC8-9B0B-CCA089A0A97B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22557013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D8F2DE-22F8-4F7D-8ACD-BCECB03D1BF2}" type="datetimeFigureOut">
              <a:rPr lang="zh-CN" altLang="en-US"/>
              <a:pPr>
                <a:defRPr/>
              </a:pPr>
              <a:t>2012/12/15</a:t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3ABFCA-F8D8-434C-A568-CC47D4184BD9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4740343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52D084-60DF-466E-8EF7-B2CFAC84D4BD}" type="datetimeFigureOut">
              <a:rPr lang="zh-CN" altLang="en-US"/>
              <a:pPr>
                <a:defRPr/>
              </a:pPr>
              <a:t>2012/12/15</a:t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554A6B-3FB2-4932-BCFA-2A7AA44E8AF9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24806834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31E5C3-3FFF-4C36-99F0-E2273623851D}" type="datetimeFigureOut">
              <a:rPr lang="zh-CN" altLang="en-US"/>
              <a:pPr>
                <a:defRPr/>
              </a:pPr>
              <a:t>2012/12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A6388F-BCC5-4AA3-BBAF-706F46597BE1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4194429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08A47F-3738-4578-9F1A-933C926C2A93}" type="datetimeFigureOut">
              <a:rPr lang="zh-CN" altLang="en-US"/>
              <a:pPr>
                <a:defRPr/>
              </a:pPr>
              <a:t>2012/12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7CCCF4-842E-4E6A-8881-DCF8B027028B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20354497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8086" r:id="rId8" imgW="0" imgH="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flipH="1">
            <a:off x="0" y="620713"/>
            <a:ext cx="9906000" cy="920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00266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US" altLang="zh-CN" sz="2400">
              <a:solidFill>
                <a:srgbClr val="095095"/>
              </a:solidFill>
              <a:ea typeface="华文楷体" pitchFamily="2" charset="-122"/>
            </a:endParaRPr>
          </a:p>
        </p:txBody>
      </p:sp>
      <p:sp>
        <p:nvSpPr>
          <p:cNvPr id="5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321425"/>
            <a:ext cx="9906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endParaRPr lang="en-US" sz="2400">
              <a:solidFill>
                <a:schemeClr val="folHlink"/>
              </a:solidFill>
              <a:ea typeface="+mn-ea"/>
            </a:endParaRPr>
          </a:p>
        </p:txBody>
      </p:sp>
      <p:sp>
        <p:nvSpPr>
          <p:cNvPr id="6" name="Slide Number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444038" y="6481763"/>
            <a:ext cx="157162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spcBef>
                <a:spcPct val="0"/>
              </a:spcBef>
              <a:defRPr/>
            </a:pPr>
            <a:fld id="{C71472AB-A3D1-4B24-9C4C-BABAEFB64B0B}" type="slidenum">
              <a:rPr lang="en-US" sz="10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pPr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7" name="Doc Code" descr="casecod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848350" y="6481763"/>
            <a:ext cx="3465513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1pPr>
            <a:lvl2pPr marL="742950" indent="-285750"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2pPr>
            <a:lvl3pPr marL="1143000" indent="-228600"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3pPr>
            <a:lvl4pPr marL="1600200" indent="-228600"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4pPr>
            <a:lvl5pPr marL="2057400" indent="-228600"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9pPr>
          </a:lstStyle>
          <a:p>
            <a:pPr algn="r" eaLnBrk="1" hangingPunct="1">
              <a:defRPr/>
            </a:pPr>
            <a:r>
              <a:rPr lang="zh-CN" altLang="en-US" sz="1000" b="0" dirty="0" smtClean="0">
                <a:solidFill>
                  <a:schemeClr val="bg1"/>
                </a:solidFill>
              </a:rPr>
              <a:t>北京和易达软件技术有限公司</a:t>
            </a:r>
            <a:r>
              <a:rPr lang="en-US" altLang="zh-CN" sz="1000" b="0" dirty="0" smtClean="0">
                <a:solidFill>
                  <a:schemeClr val="bg1"/>
                </a:solidFill>
              </a:rPr>
              <a:t>– </a:t>
            </a:r>
            <a:r>
              <a:rPr lang="zh-CN" altLang="en-US" sz="1000" b="0" dirty="0" smtClean="0">
                <a:solidFill>
                  <a:schemeClr val="bg1"/>
                </a:solidFill>
              </a:rPr>
              <a:t>龙湖架构</a:t>
            </a:r>
            <a:endParaRPr lang="zh-CN" altLang="en-US" sz="1000" b="0" dirty="0">
              <a:solidFill>
                <a:schemeClr val="bg1"/>
              </a:solidFill>
            </a:endParaRPr>
          </a:p>
        </p:txBody>
      </p:sp>
      <p:sp>
        <p:nvSpPr>
          <p:cNvPr id="8" name="Slide Number Line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9375775" y="6497638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zh-CN" altLang="en-US"/>
          </a:p>
        </p:txBody>
      </p:sp>
      <p:graphicFrame>
        <p:nvGraphicFramePr>
          <p:cNvPr id="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8087" r:id="rId9" imgW="0" imgH="0" progId="">
              <p:embed/>
            </p:oleObj>
          </a:graphicData>
        </a:graphic>
      </p:graphicFrame>
      <p:pic>
        <p:nvPicPr>
          <p:cNvPr id="10" name="Picture 2" descr="D:\工作\和易达\公司logo1.png"/>
          <p:cNvPicPr>
            <a:picLocks noChangeAspect="1" noChangeArrowheads="1"/>
          </p:cNvPicPr>
          <p:nvPr userDrawn="1"/>
        </p:nvPicPr>
        <p:blipFill>
          <a:blip r:embed="rId10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4988" y="6450013"/>
            <a:ext cx="22288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Placeholder 27"/>
          <p:cNvSpPr>
            <a:spLocks noGrp="1"/>
          </p:cNvSpPr>
          <p:nvPr>
            <p:ph type="title"/>
          </p:nvPr>
        </p:nvSpPr>
        <p:spPr>
          <a:xfrm>
            <a:off x="473078" y="228786"/>
            <a:ext cx="8840785" cy="391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tlCol="0">
            <a:noAutofit/>
          </a:bodyPr>
          <a:lstStyle>
            <a:lvl1pPr>
              <a:defRPr lang="en-US" sz="2000" b="1" kern="1200" dirty="0">
                <a:solidFill>
                  <a:srgbClr val="323255"/>
                </a:solidFill>
                <a:latin typeface="Arial" charset="0"/>
                <a:ea typeface="华文楷体" pitchFamily="2" charset="-122"/>
                <a:cs typeface="Arial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369602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9110" r:id="rId19" imgW="0" imgH="0" progId="">
              <p:embed/>
            </p:oleObj>
          </a:graphicData>
        </a:graphic>
      </p:graphicFrame>
      <p:sp>
        <p:nvSpPr>
          <p:cNvPr id="5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flipH="1">
            <a:off x="0" y="620713"/>
            <a:ext cx="9906000" cy="920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00266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US" altLang="zh-CN" sz="2400">
              <a:solidFill>
                <a:srgbClr val="095095"/>
              </a:solidFill>
              <a:ea typeface="华文楷体" pitchFamily="2" charset="-122"/>
            </a:endParaRPr>
          </a:p>
        </p:txBody>
      </p:sp>
      <p:sp>
        <p:nvSpPr>
          <p:cNvPr id="6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321425"/>
            <a:ext cx="9906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endParaRPr lang="en-US" sz="2400">
              <a:solidFill>
                <a:schemeClr val="folHlink"/>
              </a:solidFill>
              <a:ea typeface="+mn-ea"/>
            </a:endParaRPr>
          </a:p>
        </p:txBody>
      </p:sp>
      <p:grpSp>
        <p:nvGrpSpPr>
          <p:cNvPr id="7" name="Group 78"/>
          <p:cNvGrpSpPr>
            <a:grpSpLocks/>
          </p:cNvGrpSpPr>
          <p:nvPr/>
        </p:nvGrpSpPr>
        <p:grpSpPr bwMode="auto">
          <a:xfrm>
            <a:off x="0" y="0"/>
            <a:ext cx="9906000" cy="6858000"/>
            <a:chOff x="0" y="0"/>
            <a:chExt cx="9906000" cy="6858000"/>
          </a:xfrm>
        </p:grpSpPr>
        <p:sp>
          <p:nvSpPr>
            <p:cNvPr id="8" name="Line 102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0" y="747713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9" name="Line 95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53022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0" name="Line 99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937577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1" name="Line 100"/>
            <p:cNvSpPr>
              <a:spLocks noChangeShapeType="1"/>
            </p:cNvSpPr>
            <p:nvPr>
              <p:custDataLst>
                <p:tags r:id="rId15"/>
              </p:custDataLst>
            </p:nvPr>
          </p:nvSpPr>
          <p:spPr bwMode="auto">
            <a:xfrm>
              <a:off x="0" y="196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2" name="Line 101"/>
            <p:cNvSpPr>
              <a:spLocks noChangeShapeType="1"/>
            </p:cNvSpPr>
            <p:nvPr>
              <p:custDataLst>
                <p:tags r:id="rId16"/>
              </p:custDataLst>
            </p:nvPr>
          </p:nvSpPr>
          <p:spPr bwMode="auto">
            <a:xfrm>
              <a:off x="0" y="452438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3" name="Line 103"/>
            <p:cNvSpPr>
              <a:spLocks noChangeShapeType="1"/>
            </p:cNvSpPr>
            <p:nvPr>
              <p:custDataLst>
                <p:tags r:id="rId17"/>
              </p:custDataLst>
            </p:nvPr>
          </p:nvSpPr>
          <p:spPr bwMode="auto">
            <a:xfrm>
              <a:off x="0" y="1720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</p:grpSp>
      <p:pic>
        <p:nvPicPr>
          <p:cNvPr id="14" name="Picture 27" descr="内页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0" cstate="print">
            <a:clrChange>
              <a:clrFrom>
                <a:srgbClr val="221F41"/>
              </a:clrFrom>
              <a:clrTo>
                <a:srgbClr val="221F4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584" t="90486" r="68855" b="139"/>
          <a:stretch>
            <a:fillRect/>
          </a:stretch>
        </p:blipFill>
        <p:spPr bwMode="auto">
          <a:xfrm>
            <a:off x="534988" y="6400800"/>
            <a:ext cx="1425575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lide Number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444038" y="6481763"/>
            <a:ext cx="157162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spcBef>
                <a:spcPct val="0"/>
              </a:spcBef>
              <a:defRPr/>
            </a:pPr>
            <a:fld id="{841210EB-7CE0-4A34-A789-D0A5F261B103}" type="slidenum">
              <a:rPr lang="en-US" sz="10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pPr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6" name="Doc Code" descr="casecode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848350" y="6481763"/>
            <a:ext cx="3465513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>
              <a:defRPr sz="900" b="0" smtClean="0"/>
            </a:lvl1pPr>
          </a:lstStyle>
          <a:p>
            <a:pPr>
              <a:spcBef>
                <a:spcPct val="0"/>
              </a:spcBef>
              <a:defRPr/>
            </a:pPr>
            <a:r>
              <a:rPr lang="zh-CN" altLang="en-US" sz="100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部门 </a:t>
            </a:r>
            <a:r>
              <a:rPr lang="en-US" altLang="zh-CN" sz="100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– </a:t>
            </a:r>
            <a:r>
              <a:rPr lang="zh-CN" altLang="en-US" sz="100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文件名</a:t>
            </a:r>
            <a:endParaRPr lang="en-US" sz="1000" dirty="0">
              <a:solidFill>
                <a:schemeClr val="bg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7" name="Slide Number Line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9375775" y="6497638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18" name="Rectangle 37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spcBef>
                <a:spcPct val="0"/>
              </a:spcBef>
              <a:defRPr/>
            </a:pPr>
            <a:endParaRPr 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1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9111" r:id="rId21" imgW="0" imgH="0" progId="">
              <p:embed/>
            </p:oleObj>
          </a:graphicData>
        </a:graphic>
      </p:graphicFrame>
      <p:pic>
        <p:nvPicPr>
          <p:cNvPr id="20" name="Picture 2" descr="d:\Documents and settings\Jingmei_Cai\Desktop\2.jpg"/>
          <p:cNvPicPr>
            <a:picLocks noChangeArrowheads="1"/>
          </p:cNvPicPr>
          <p:nvPr>
            <p:custDataLst>
              <p:tags r:id="rId8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5789" b="39078"/>
          <a:stretch>
            <a:fillRect/>
          </a:stretch>
        </p:blipFill>
        <p:spPr bwMode="auto">
          <a:xfrm>
            <a:off x="0" y="4951413"/>
            <a:ext cx="9906000" cy="1906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Line 2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8094663" y="574675"/>
            <a:ext cx="0" cy="4495800"/>
          </a:xfrm>
          <a:prstGeom prst="line">
            <a:avLst/>
          </a:prstGeom>
          <a:noFill/>
          <a:ln w="28575">
            <a:solidFill>
              <a:schemeClr val="accent3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spcBef>
                <a:spcPct val="0"/>
              </a:spcBef>
              <a:defRPr/>
            </a:pPr>
            <a:endParaRPr lang="en-US" sz="1300" b="1">
              <a:ea typeface="+mn-ea"/>
              <a:cs typeface="Arial" charset="0"/>
            </a:endParaRPr>
          </a:p>
        </p:txBody>
      </p:sp>
      <p:grpSp>
        <p:nvGrpSpPr>
          <p:cNvPr id="22" name="Group 8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8302625" y="2500313"/>
            <a:ext cx="1338263" cy="2189162"/>
            <a:chOff x="4704" y="1885"/>
            <a:chExt cx="843" cy="1379"/>
          </a:xfrm>
        </p:grpSpPr>
        <p:sp>
          <p:nvSpPr>
            <p:cNvPr id="23" name="Oval 42"/>
            <p:cNvSpPr>
              <a:spLocks noChangeArrowheads="1"/>
            </p:cNvSpPr>
            <p:nvPr/>
          </p:nvSpPr>
          <p:spPr bwMode="auto">
            <a:xfrm>
              <a:off x="4704" y="1885"/>
              <a:ext cx="127" cy="1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24" name="Oval 43"/>
            <p:cNvSpPr>
              <a:spLocks noChangeArrowheads="1"/>
            </p:cNvSpPr>
            <p:nvPr/>
          </p:nvSpPr>
          <p:spPr bwMode="auto">
            <a:xfrm>
              <a:off x="4883" y="1885"/>
              <a:ext cx="127" cy="1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25" name="Oval 44"/>
            <p:cNvSpPr>
              <a:spLocks noChangeArrowheads="1"/>
            </p:cNvSpPr>
            <p:nvPr/>
          </p:nvSpPr>
          <p:spPr bwMode="auto">
            <a:xfrm>
              <a:off x="5062" y="1885"/>
              <a:ext cx="127" cy="1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26" name="Oval 45"/>
            <p:cNvSpPr>
              <a:spLocks noChangeArrowheads="1"/>
            </p:cNvSpPr>
            <p:nvPr/>
          </p:nvSpPr>
          <p:spPr bwMode="auto">
            <a:xfrm>
              <a:off x="4704" y="2064"/>
              <a:ext cx="127" cy="1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27" name="Oval 46"/>
            <p:cNvSpPr>
              <a:spLocks noChangeArrowheads="1"/>
            </p:cNvSpPr>
            <p:nvPr/>
          </p:nvSpPr>
          <p:spPr bwMode="auto">
            <a:xfrm>
              <a:off x="4883" y="2064"/>
              <a:ext cx="127" cy="1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28" name="Oval 47"/>
            <p:cNvSpPr>
              <a:spLocks noChangeArrowheads="1"/>
            </p:cNvSpPr>
            <p:nvPr/>
          </p:nvSpPr>
          <p:spPr bwMode="auto">
            <a:xfrm>
              <a:off x="5062" y="2064"/>
              <a:ext cx="127" cy="1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29" name="Oval 48"/>
            <p:cNvSpPr>
              <a:spLocks noChangeArrowheads="1"/>
            </p:cNvSpPr>
            <p:nvPr/>
          </p:nvSpPr>
          <p:spPr bwMode="auto">
            <a:xfrm>
              <a:off x="5241" y="2064"/>
              <a:ext cx="127" cy="12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30" name="Oval 49"/>
            <p:cNvSpPr>
              <a:spLocks noChangeArrowheads="1"/>
            </p:cNvSpPr>
            <p:nvPr/>
          </p:nvSpPr>
          <p:spPr bwMode="auto">
            <a:xfrm>
              <a:off x="4704" y="2243"/>
              <a:ext cx="127" cy="1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31" name="Oval 50"/>
            <p:cNvSpPr>
              <a:spLocks noChangeArrowheads="1"/>
            </p:cNvSpPr>
            <p:nvPr/>
          </p:nvSpPr>
          <p:spPr bwMode="auto">
            <a:xfrm>
              <a:off x="4883" y="2243"/>
              <a:ext cx="127" cy="1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32" name="Oval 51"/>
            <p:cNvSpPr>
              <a:spLocks noChangeArrowheads="1"/>
            </p:cNvSpPr>
            <p:nvPr/>
          </p:nvSpPr>
          <p:spPr bwMode="auto">
            <a:xfrm>
              <a:off x="5062" y="2243"/>
              <a:ext cx="127" cy="12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33" name="Oval 52"/>
            <p:cNvSpPr>
              <a:spLocks noChangeArrowheads="1"/>
            </p:cNvSpPr>
            <p:nvPr/>
          </p:nvSpPr>
          <p:spPr bwMode="auto">
            <a:xfrm>
              <a:off x="5241" y="2243"/>
              <a:ext cx="127" cy="12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34" name="Oval 53"/>
            <p:cNvSpPr>
              <a:spLocks noChangeArrowheads="1"/>
            </p:cNvSpPr>
            <p:nvPr/>
          </p:nvSpPr>
          <p:spPr bwMode="auto">
            <a:xfrm>
              <a:off x="5420" y="2243"/>
              <a:ext cx="127" cy="1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35" name="Oval 54"/>
            <p:cNvSpPr>
              <a:spLocks noChangeArrowheads="1"/>
            </p:cNvSpPr>
            <p:nvPr/>
          </p:nvSpPr>
          <p:spPr bwMode="auto">
            <a:xfrm>
              <a:off x="4704" y="2421"/>
              <a:ext cx="127" cy="12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36" name="Oval 55"/>
            <p:cNvSpPr>
              <a:spLocks noChangeArrowheads="1"/>
            </p:cNvSpPr>
            <p:nvPr/>
          </p:nvSpPr>
          <p:spPr bwMode="auto">
            <a:xfrm>
              <a:off x="4883" y="2421"/>
              <a:ext cx="127" cy="12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37" name="Oval 56"/>
            <p:cNvSpPr>
              <a:spLocks noChangeArrowheads="1"/>
            </p:cNvSpPr>
            <p:nvPr/>
          </p:nvSpPr>
          <p:spPr bwMode="auto">
            <a:xfrm>
              <a:off x="5062" y="2421"/>
              <a:ext cx="127" cy="12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38" name="Oval 57"/>
            <p:cNvSpPr>
              <a:spLocks noChangeArrowheads="1"/>
            </p:cNvSpPr>
            <p:nvPr/>
          </p:nvSpPr>
          <p:spPr bwMode="auto">
            <a:xfrm>
              <a:off x="5241" y="2421"/>
              <a:ext cx="127" cy="1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39" name="Oval 58"/>
            <p:cNvSpPr>
              <a:spLocks noChangeArrowheads="1"/>
            </p:cNvSpPr>
            <p:nvPr/>
          </p:nvSpPr>
          <p:spPr bwMode="auto">
            <a:xfrm>
              <a:off x="4704" y="2600"/>
              <a:ext cx="127" cy="12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40" name="Oval 59"/>
            <p:cNvSpPr>
              <a:spLocks noChangeArrowheads="1"/>
            </p:cNvSpPr>
            <p:nvPr/>
          </p:nvSpPr>
          <p:spPr bwMode="auto">
            <a:xfrm>
              <a:off x="4883" y="2600"/>
              <a:ext cx="127" cy="12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41" name="Oval 60"/>
            <p:cNvSpPr>
              <a:spLocks noChangeArrowheads="1"/>
            </p:cNvSpPr>
            <p:nvPr/>
          </p:nvSpPr>
          <p:spPr bwMode="auto">
            <a:xfrm>
              <a:off x="5062" y="2600"/>
              <a:ext cx="127" cy="1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42" name="Oval 61"/>
            <p:cNvSpPr>
              <a:spLocks noChangeArrowheads="1"/>
            </p:cNvSpPr>
            <p:nvPr/>
          </p:nvSpPr>
          <p:spPr bwMode="auto">
            <a:xfrm>
              <a:off x="5241" y="2600"/>
              <a:ext cx="127" cy="1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43" name="Oval 62"/>
            <p:cNvSpPr>
              <a:spLocks noChangeArrowheads="1"/>
            </p:cNvSpPr>
            <p:nvPr/>
          </p:nvSpPr>
          <p:spPr bwMode="auto">
            <a:xfrm>
              <a:off x="5420" y="2600"/>
              <a:ext cx="127" cy="128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44" name="Oval 63"/>
            <p:cNvSpPr>
              <a:spLocks noChangeArrowheads="1"/>
            </p:cNvSpPr>
            <p:nvPr/>
          </p:nvSpPr>
          <p:spPr bwMode="auto">
            <a:xfrm>
              <a:off x="4704" y="2779"/>
              <a:ext cx="127" cy="12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45" name="Oval 64"/>
            <p:cNvSpPr>
              <a:spLocks noChangeArrowheads="1"/>
            </p:cNvSpPr>
            <p:nvPr/>
          </p:nvSpPr>
          <p:spPr bwMode="auto">
            <a:xfrm>
              <a:off x="4883" y="2779"/>
              <a:ext cx="127" cy="1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46" name="Oval 65"/>
            <p:cNvSpPr>
              <a:spLocks noChangeArrowheads="1"/>
            </p:cNvSpPr>
            <p:nvPr/>
          </p:nvSpPr>
          <p:spPr bwMode="auto">
            <a:xfrm>
              <a:off x="5062" y="2779"/>
              <a:ext cx="127" cy="1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47" name="Oval 66"/>
            <p:cNvSpPr>
              <a:spLocks noChangeArrowheads="1"/>
            </p:cNvSpPr>
            <p:nvPr/>
          </p:nvSpPr>
          <p:spPr bwMode="auto">
            <a:xfrm>
              <a:off x="5241" y="2779"/>
              <a:ext cx="127" cy="127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48" name="Oval 67"/>
            <p:cNvSpPr>
              <a:spLocks noChangeArrowheads="1"/>
            </p:cNvSpPr>
            <p:nvPr/>
          </p:nvSpPr>
          <p:spPr bwMode="auto">
            <a:xfrm>
              <a:off x="4704" y="2958"/>
              <a:ext cx="127" cy="1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49" name="Oval 68"/>
            <p:cNvSpPr>
              <a:spLocks noChangeArrowheads="1"/>
            </p:cNvSpPr>
            <p:nvPr/>
          </p:nvSpPr>
          <p:spPr bwMode="auto">
            <a:xfrm>
              <a:off x="4883" y="2958"/>
              <a:ext cx="127" cy="1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50" name="Oval 69"/>
            <p:cNvSpPr>
              <a:spLocks noChangeArrowheads="1"/>
            </p:cNvSpPr>
            <p:nvPr/>
          </p:nvSpPr>
          <p:spPr bwMode="auto">
            <a:xfrm>
              <a:off x="5062" y="2958"/>
              <a:ext cx="127" cy="127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51" name="Oval 70"/>
            <p:cNvSpPr>
              <a:spLocks noChangeArrowheads="1"/>
            </p:cNvSpPr>
            <p:nvPr/>
          </p:nvSpPr>
          <p:spPr bwMode="auto">
            <a:xfrm>
              <a:off x="5241" y="2958"/>
              <a:ext cx="127" cy="127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53" name="Oval 71"/>
            <p:cNvSpPr>
              <a:spLocks noChangeArrowheads="1"/>
            </p:cNvSpPr>
            <p:nvPr/>
          </p:nvSpPr>
          <p:spPr bwMode="auto">
            <a:xfrm>
              <a:off x="4883" y="3137"/>
              <a:ext cx="127" cy="127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55" name="Oval 72"/>
            <p:cNvSpPr>
              <a:spLocks noChangeArrowheads="1"/>
            </p:cNvSpPr>
            <p:nvPr/>
          </p:nvSpPr>
          <p:spPr bwMode="auto">
            <a:xfrm>
              <a:off x="5241" y="3137"/>
              <a:ext cx="127" cy="127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</p:grpSp>
      <p:sp>
        <p:nvSpPr>
          <p:cNvPr id="56" name="Line 40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688975" y="1181100"/>
            <a:ext cx="8229600" cy="0"/>
          </a:xfrm>
          <a:prstGeom prst="line">
            <a:avLst/>
          </a:prstGeom>
          <a:noFill/>
          <a:ln w="28575">
            <a:solidFill>
              <a:schemeClr val="accent3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spcBef>
                <a:spcPct val="0"/>
              </a:spcBef>
              <a:defRPr/>
            </a:pPr>
            <a:endParaRPr lang="en-US" sz="1300" b="1">
              <a:ea typeface="+mn-ea"/>
              <a:cs typeface="Arial" charset="0"/>
            </a:endParaRPr>
          </a:p>
        </p:txBody>
      </p:sp>
      <p:pic>
        <p:nvPicPr>
          <p:cNvPr id="57" name="Picture 2" descr="D:\工作\和易达\公司logo1.png"/>
          <p:cNvPicPr>
            <a:picLocks noChangeAspect="1" noChangeArrowheads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7050" y="6359525"/>
            <a:ext cx="28670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Text Placeholder 53"/>
          <p:cNvSpPr>
            <a:spLocks noGrp="1"/>
          </p:cNvSpPr>
          <p:nvPr>
            <p:ph type="body" sz="quarter" idx="11"/>
          </p:nvPr>
        </p:nvSpPr>
        <p:spPr>
          <a:xfrm>
            <a:off x="975578" y="712788"/>
            <a:ext cx="6892131" cy="343492"/>
          </a:xfrm>
        </p:spPr>
        <p:txBody>
          <a:bodyPr rtlCol="0" anchor="b">
            <a:spAutoFit/>
          </a:bodyPr>
          <a:lstStyle>
            <a:lvl1pPr algn="r">
              <a:defRPr kumimoji="0" lang="en-US" altLang="de-DE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2" name="Text Placeholder 47"/>
          <p:cNvSpPr>
            <a:spLocks noGrp="1"/>
          </p:cNvSpPr>
          <p:nvPr>
            <p:ph type="body" sz="quarter" idx="10"/>
          </p:nvPr>
        </p:nvSpPr>
        <p:spPr>
          <a:xfrm>
            <a:off x="1030169" y="1367681"/>
            <a:ext cx="6831817" cy="257635"/>
          </a:xfrm>
          <a:prstGeom prst="rect">
            <a:avLst/>
          </a:prstGeom>
        </p:spPr>
        <p:txBody>
          <a:bodyPr/>
          <a:lstStyle>
            <a:lvl1pPr algn="r"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989588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0134" r:id="rId19" imgW="0" imgH="0" progId="">
              <p:embed/>
            </p:oleObj>
          </a:graphicData>
        </a:graphic>
      </p:graphicFrame>
      <p:sp>
        <p:nvSpPr>
          <p:cNvPr id="5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flipH="1">
            <a:off x="0" y="620713"/>
            <a:ext cx="9906000" cy="920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00266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US" altLang="zh-CN" sz="2400">
              <a:solidFill>
                <a:srgbClr val="095095"/>
              </a:solidFill>
              <a:ea typeface="华文楷体" pitchFamily="2" charset="-122"/>
            </a:endParaRPr>
          </a:p>
        </p:txBody>
      </p:sp>
      <p:sp>
        <p:nvSpPr>
          <p:cNvPr id="6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321425"/>
            <a:ext cx="9906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endParaRPr lang="en-US" sz="2400">
              <a:solidFill>
                <a:schemeClr val="folHlink"/>
              </a:solidFill>
              <a:ea typeface="+mn-ea"/>
            </a:endParaRPr>
          </a:p>
        </p:txBody>
      </p:sp>
      <p:grpSp>
        <p:nvGrpSpPr>
          <p:cNvPr id="7" name="Group 78"/>
          <p:cNvGrpSpPr>
            <a:grpSpLocks/>
          </p:cNvGrpSpPr>
          <p:nvPr/>
        </p:nvGrpSpPr>
        <p:grpSpPr bwMode="auto">
          <a:xfrm>
            <a:off x="0" y="0"/>
            <a:ext cx="9906000" cy="6858000"/>
            <a:chOff x="0" y="0"/>
            <a:chExt cx="9906000" cy="6858000"/>
          </a:xfrm>
        </p:grpSpPr>
        <p:sp>
          <p:nvSpPr>
            <p:cNvPr id="8" name="Line 102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0" y="747713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9" name="Line 95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53022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0" name="Line 99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937577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1" name="Line 100"/>
            <p:cNvSpPr>
              <a:spLocks noChangeShapeType="1"/>
            </p:cNvSpPr>
            <p:nvPr>
              <p:custDataLst>
                <p:tags r:id="rId15"/>
              </p:custDataLst>
            </p:nvPr>
          </p:nvSpPr>
          <p:spPr bwMode="auto">
            <a:xfrm>
              <a:off x="0" y="196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2" name="Line 101"/>
            <p:cNvSpPr>
              <a:spLocks noChangeShapeType="1"/>
            </p:cNvSpPr>
            <p:nvPr>
              <p:custDataLst>
                <p:tags r:id="rId16"/>
              </p:custDataLst>
            </p:nvPr>
          </p:nvSpPr>
          <p:spPr bwMode="auto">
            <a:xfrm>
              <a:off x="0" y="452438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3" name="Line 103"/>
            <p:cNvSpPr>
              <a:spLocks noChangeShapeType="1"/>
            </p:cNvSpPr>
            <p:nvPr>
              <p:custDataLst>
                <p:tags r:id="rId17"/>
              </p:custDataLst>
            </p:nvPr>
          </p:nvSpPr>
          <p:spPr bwMode="auto">
            <a:xfrm>
              <a:off x="0" y="1720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</p:grpSp>
      <p:pic>
        <p:nvPicPr>
          <p:cNvPr id="14" name="Picture 27" descr="内页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0" cstate="print">
            <a:clrChange>
              <a:clrFrom>
                <a:srgbClr val="221F41"/>
              </a:clrFrom>
              <a:clrTo>
                <a:srgbClr val="221F4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584" t="90486" r="68855" b="139"/>
          <a:stretch>
            <a:fillRect/>
          </a:stretch>
        </p:blipFill>
        <p:spPr bwMode="auto">
          <a:xfrm>
            <a:off x="534988" y="6400800"/>
            <a:ext cx="1425575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lide Number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444038" y="6481763"/>
            <a:ext cx="157162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spcBef>
                <a:spcPct val="0"/>
              </a:spcBef>
              <a:defRPr/>
            </a:pPr>
            <a:fld id="{AED84881-083E-4B41-99B0-352CAED79B5D}" type="slidenum">
              <a:rPr lang="en-US" sz="10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pPr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6" name="Doc Code" descr="casecode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848350" y="6481763"/>
            <a:ext cx="3465513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>
              <a:defRPr sz="900" b="0" smtClean="0"/>
            </a:lvl1pPr>
          </a:lstStyle>
          <a:p>
            <a:pPr>
              <a:spcBef>
                <a:spcPct val="0"/>
              </a:spcBef>
              <a:defRPr/>
            </a:pPr>
            <a:r>
              <a:rPr lang="zh-CN" altLang="en-US" sz="100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部门 </a:t>
            </a:r>
            <a:r>
              <a:rPr lang="en-US" altLang="zh-CN" sz="100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– </a:t>
            </a:r>
            <a:r>
              <a:rPr lang="zh-CN" altLang="en-US" sz="100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文件名</a:t>
            </a:r>
            <a:endParaRPr lang="en-US" sz="1000" dirty="0">
              <a:solidFill>
                <a:schemeClr val="bg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7" name="Slide Number Line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9375775" y="6497638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18" name="Rectangle 37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spcBef>
                <a:spcPct val="0"/>
              </a:spcBef>
              <a:defRPr/>
            </a:pPr>
            <a:endParaRPr 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1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0135" r:id="rId21" imgW="0" imgH="0" progId="">
              <p:embed/>
            </p:oleObj>
          </a:graphicData>
        </a:graphic>
      </p:graphicFrame>
      <p:pic>
        <p:nvPicPr>
          <p:cNvPr id="20" name="Picture 2" descr="d:\Documents and settings\Jingmei_Cai\Desktop\2.jpg"/>
          <p:cNvPicPr>
            <a:picLocks noChangeArrowheads="1"/>
          </p:cNvPicPr>
          <p:nvPr>
            <p:custDataLst>
              <p:tags r:id="rId8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5789" b="39078"/>
          <a:stretch>
            <a:fillRect/>
          </a:stretch>
        </p:blipFill>
        <p:spPr bwMode="auto">
          <a:xfrm>
            <a:off x="0" y="4951413"/>
            <a:ext cx="9906000" cy="1906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Line 2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8094663" y="574675"/>
            <a:ext cx="0" cy="4495800"/>
          </a:xfrm>
          <a:prstGeom prst="line">
            <a:avLst/>
          </a:prstGeom>
          <a:noFill/>
          <a:ln w="28575">
            <a:solidFill>
              <a:schemeClr val="accent3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spcBef>
                <a:spcPct val="0"/>
              </a:spcBef>
              <a:defRPr/>
            </a:pPr>
            <a:endParaRPr lang="en-US" sz="1300" b="1">
              <a:ea typeface="+mn-ea"/>
              <a:cs typeface="Arial" charset="0"/>
            </a:endParaRPr>
          </a:p>
        </p:txBody>
      </p:sp>
      <p:grpSp>
        <p:nvGrpSpPr>
          <p:cNvPr id="22" name="Group 8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8302625" y="2500313"/>
            <a:ext cx="1338263" cy="2189162"/>
            <a:chOff x="4704" y="1885"/>
            <a:chExt cx="843" cy="1379"/>
          </a:xfrm>
        </p:grpSpPr>
        <p:sp>
          <p:nvSpPr>
            <p:cNvPr id="23" name="Oval 42"/>
            <p:cNvSpPr>
              <a:spLocks noChangeArrowheads="1"/>
            </p:cNvSpPr>
            <p:nvPr/>
          </p:nvSpPr>
          <p:spPr bwMode="auto">
            <a:xfrm>
              <a:off x="4704" y="1885"/>
              <a:ext cx="127" cy="1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24" name="Oval 43"/>
            <p:cNvSpPr>
              <a:spLocks noChangeArrowheads="1"/>
            </p:cNvSpPr>
            <p:nvPr/>
          </p:nvSpPr>
          <p:spPr bwMode="auto">
            <a:xfrm>
              <a:off x="4883" y="1885"/>
              <a:ext cx="127" cy="1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25" name="Oval 44"/>
            <p:cNvSpPr>
              <a:spLocks noChangeArrowheads="1"/>
            </p:cNvSpPr>
            <p:nvPr/>
          </p:nvSpPr>
          <p:spPr bwMode="auto">
            <a:xfrm>
              <a:off x="5062" y="1885"/>
              <a:ext cx="127" cy="1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26" name="Oval 45"/>
            <p:cNvSpPr>
              <a:spLocks noChangeArrowheads="1"/>
            </p:cNvSpPr>
            <p:nvPr/>
          </p:nvSpPr>
          <p:spPr bwMode="auto">
            <a:xfrm>
              <a:off x="4704" y="2064"/>
              <a:ext cx="127" cy="1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27" name="Oval 46"/>
            <p:cNvSpPr>
              <a:spLocks noChangeArrowheads="1"/>
            </p:cNvSpPr>
            <p:nvPr/>
          </p:nvSpPr>
          <p:spPr bwMode="auto">
            <a:xfrm>
              <a:off x="4883" y="2064"/>
              <a:ext cx="127" cy="1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28" name="Oval 47"/>
            <p:cNvSpPr>
              <a:spLocks noChangeArrowheads="1"/>
            </p:cNvSpPr>
            <p:nvPr/>
          </p:nvSpPr>
          <p:spPr bwMode="auto">
            <a:xfrm>
              <a:off x="5062" y="2064"/>
              <a:ext cx="127" cy="1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29" name="Oval 48"/>
            <p:cNvSpPr>
              <a:spLocks noChangeArrowheads="1"/>
            </p:cNvSpPr>
            <p:nvPr/>
          </p:nvSpPr>
          <p:spPr bwMode="auto">
            <a:xfrm>
              <a:off x="5241" y="2064"/>
              <a:ext cx="127" cy="12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30" name="Oval 49"/>
            <p:cNvSpPr>
              <a:spLocks noChangeArrowheads="1"/>
            </p:cNvSpPr>
            <p:nvPr/>
          </p:nvSpPr>
          <p:spPr bwMode="auto">
            <a:xfrm>
              <a:off x="4704" y="2243"/>
              <a:ext cx="127" cy="1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31" name="Oval 50"/>
            <p:cNvSpPr>
              <a:spLocks noChangeArrowheads="1"/>
            </p:cNvSpPr>
            <p:nvPr/>
          </p:nvSpPr>
          <p:spPr bwMode="auto">
            <a:xfrm>
              <a:off x="4883" y="2243"/>
              <a:ext cx="127" cy="1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32" name="Oval 51"/>
            <p:cNvSpPr>
              <a:spLocks noChangeArrowheads="1"/>
            </p:cNvSpPr>
            <p:nvPr/>
          </p:nvSpPr>
          <p:spPr bwMode="auto">
            <a:xfrm>
              <a:off x="5062" y="2243"/>
              <a:ext cx="127" cy="12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33" name="Oval 52"/>
            <p:cNvSpPr>
              <a:spLocks noChangeArrowheads="1"/>
            </p:cNvSpPr>
            <p:nvPr/>
          </p:nvSpPr>
          <p:spPr bwMode="auto">
            <a:xfrm>
              <a:off x="5241" y="2243"/>
              <a:ext cx="127" cy="12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34" name="Oval 53"/>
            <p:cNvSpPr>
              <a:spLocks noChangeArrowheads="1"/>
            </p:cNvSpPr>
            <p:nvPr/>
          </p:nvSpPr>
          <p:spPr bwMode="auto">
            <a:xfrm>
              <a:off x="5420" y="2243"/>
              <a:ext cx="127" cy="1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35" name="Oval 54"/>
            <p:cNvSpPr>
              <a:spLocks noChangeArrowheads="1"/>
            </p:cNvSpPr>
            <p:nvPr/>
          </p:nvSpPr>
          <p:spPr bwMode="auto">
            <a:xfrm>
              <a:off x="4704" y="2421"/>
              <a:ext cx="127" cy="12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36" name="Oval 55"/>
            <p:cNvSpPr>
              <a:spLocks noChangeArrowheads="1"/>
            </p:cNvSpPr>
            <p:nvPr/>
          </p:nvSpPr>
          <p:spPr bwMode="auto">
            <a:xfrm>
              <a:off x="4883" y="2421"/>
              <a:ext cx="127" cy="12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37" name="Oval 56"/>
            <p:cNvSpPr>
              <a:spLocks noChangeArrowheads="1"/>
            </p:cNvSpPr>
            <p:nvPr/>
          </p:nvSpPr>
          <p:spPr bwMode="auto">
            <a:xfrm>
              <a:off x="5062" y="2421"/>
              <a:ext cx="127" cy="12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38" name="Oval 57"/>
            <p:cNvSpPr>
              <a:spLocks noChangeArrowheads="1"/>
            </p:cNvSpPr>
            <p:nvPr/>
          </p:nvSpPr>
          <p:spPr bwMode="auto">
            <a:xfrm>
              <a:off x="5241" y="2421"/>
              <a:ext cx="127" cy="1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39" name="Oval 58"/>
            <p:cNvSpPr>
              <a:spLocks noChangeArrowheads="1"/>
            </p:cNvSpPr>
            <p:nvPr/>
          </p:nvSpPr>
          <p:spPr bwMode="auto">
            <a:xfrm>
              <a:off x="4704" y="2600"/>
              <a:ext cx="127" cy="12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40" name="Oval 59"/>
            <p:cNvSpPr>
              <a:spLocks noChangeArrowheads="1"/>
            </p:cNvSpPr>
            <p:nvPr/>
          </p:nvSpPr>
          <p:spPr bwMode="auto">
            <a:xfrm>
              <a:off x="4883" y="2600"/>
              <a:ext cx="127" cy="12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41" name="Oval 60"/>
            <p:cNvSpPr>
              <a:spLocks noChangeArrowheads="1"/>
            </p:cNvSpPr>
            <p:nvPr/>
          </p:nvSpPr>
          <p:spPr bwMode="auto">
            <a:xfrm>
              <a:off x="5062" y="2600"/>
              <a:ext cx="127" cy="1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42" name="Oval 61"/>
            <p:cNvSpPr>
              <a:spLocks noChangeArrowheads="1"/>
            </p:cNvSpPr>
            <p:nvPr/>
          </p:nvSpPr>
          <p:spPr bwMode="auto">
            <a:xfrm>
              <a:off x="5241" y="2600"/>
              <a:ext cx="127" cy="1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43" name="Oval 62"/>
            <p:cNvSpPr>
              <a:spLocks noChangeArrowheads="1"/>
            </p:cNvSpPr>
            <p:nvPr/>
          </p:nvSpPr>
          <p:spPr bwMode="auto">
            <a:xfrm>
              <a:off x="5420" y="2600"/>
              <a:ext cx="127" cy="128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44" name="Oval 63"/>
            <p:cNvSpPr>
              <a:spLocks noChangeArrowheads="1"/>
            </p:cNvSpPr>
            <p:nvPr/>
          </p:nvSpPr>
          <p:spPr bwMode="auto">
            <a:xfrm>
              <a:off x="4704" y="2779"/>
              <a:ext cx="127" cy="12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45" name="Oval 64"/>
            <p:cNvSpPr>
              <a:spLocks noChangeArrowheads="1"/>
            </p:cNvSpPr>
            <p:nvPr/>
          </p:nvSpPr>
          <p:spPr bwMode="auto">
            <a:xfrm>
              <a:off x="4883" y="2779"/>
              <a:ext cx="127" cy="1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46" name="Oval 65"/>
            <p:cNvSpPr>
              <a:spLocks noChangeArrowheads="1"/>
            </p:cNvSpPr>
            <p:nvPr/>
          </p:nvSpPr>
          <p:spPr bwMode="auto">
            <a:xfrm>
              <a:off x="5062" y="2779"/>
              <a:ext cx="127" cy="1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47" name="Oval 66"/>
            <p:cNvSpPr>
              <a:spLocks noChangeArrowheads="1"/>
            </p:cNvSpPr>
            <p:nvPr/>
          </p:nvSpPr>
          <p:spPr bwMode="auto">
            <a:xfrm>
              <a:off x="5241" y="2779"/>
              <a:ext cx="127" cy="127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48" name="Oval 67"/>
            <p:cNvSpPr>
              <a:spLocks noChangeArrowheads="1"/>
            </p:cNvSpPr>
            <p:nvPr/>
          </p:nvSpPr>
          <p:spPr bwMode="auto">
            <a:xfrm>
              <a:off x="4704" y="2958"/>
              <a:ext cx="127" cy="1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49" name="Oval 68"/>
            <p:cNvSpPr>
              <a:spLocks noChangeArrowheads="1"/>
            </p:cNvSpPr>
            <p:nvPr/>
          </p:nvSpPr>
          <p:spPr bwMode="auto">
            <a:xfrm>
              <a:off x="4883" y="2958"/>
              <a:ext cx="127" cy="1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50" name="Oval 69"/>
            <p:cNvSpPr>
              <a:spLocks noChangeArrowheads="1"/>
            </p:cNvSpPr>
            <p:nvPr/>
          </p:nvSpPr>
          <p:spPr bwMode="auto">
            <a:xfrm>
              <a:off x="5062" y="2958"/>
              <a:ext cx="127" cy="127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51" name="Oval 70"/>
            <p:cNvSpPr>
              <a:spLocks noChangeArrowheads="1"/>
            </p:cNvSpPr>
            <p:nvPr/>
          </p:nvSpPr>
          <p:spPr bwMode="auto">
            <a:xfrm>
              <a:off x="5241" y="2958"/>
              <a:ext cx="127" cy="127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53" name="Oval 71"/>
            <p:cNvSpPr>
              <a:spLocks noChangeArrowheads="1"/>
            </p:cNvSpPr>
            <p:nvPr/>
          </p:nvSpPr>
          <p:spPr bwMode="auto">
            <a:xfrm>
              <a:off x="4883" y="3137"/>
              <a:ext cx="127" cy="127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55" name="Oval 72"/>
            <p:cNvSpPr>
              <a:spLocks noChangeArrowheads="1"/>
            </p:cNvSpPr>
            <p:nvPr/>
          </p:nvSpPr>
          <p:spPr bwMode="auto">
            <a:xfrm>
              <a:off x="5241" y="3137"/>
              <a:ext cx="127" cy="127"/>
            </a:xfrm>
            <a:prstGeom prst="ellipse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altLang="zh-CN" sz="1300" b="1">
                <a:ea typeface="华文楷体" pitchFamily="2" charset="-122"/>
                <a:cs typeface="Arial" charset="0"/>
              </a:endParaRPr>
            </a:p>
          </p:txBody>
        </p:sp>
      </p:grpSp>
      <p:sp>
        <p:nvSpPr>
          <p:cNvPr id="56" name="Line 40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688975" y="1890713"/>
            <a:ext cx="8229600" cy="0"/>
          </a:xfrm>
          <a:prstGeom prst="line">
            <a:avLst/>
          </a:prstGeom>
          <a:noFill/>
          <a:ln w="28575">
            <a:solidFill>
              <a:schemeClr val="accent3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spcBef>
                <a:spcPct val="0"/>
              </a:spcBef>
              <a:defRPr/>
            </a:pPr>
            <a:endParaRPr lang="en-US" sz="1300" b="1">
              <a:ea typeface="+mn-ea"/>
              <a:cs typeface="Arial" charset="0"/>
            </a:endParaRPr>
          </a:p>
        </p:txBody>
      </p:sp>
      <p:pic>
        <p:nvPicPr>
          <p:cNvPr id="57" name="Picture 2" descr="D:\工作\和易达\公司logo1.png"/>
          <p:cNvPicPr>
            <a:picLocks noChangeAspect="1" noChangeArrowheads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7050" y="6359525"/>
            <a:ext cx="28670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Text Placeholder 53"/>
          <p:cNvSpPr>
            <a:spLocks noGrp="1"/>
          </p:cNvSpPr>
          <p:nvPr>
            <p:ph type="body" sz="quarter" idx="11"/>
          </p:nvPr>
        </p:nvSpPr>
        <p:spPr>
          <a:xfrm>
            <a:off x="975578" y="1422484"/>
            <a:ext cx="6892131" cy="343492"/>
          </a:xfrm>
        </p:spPr>
        <p:txBody>
          <a:bodyPr rtlCol="0" anchor="b">
            <a:spAutoFit/>
          </a:bodyPr>
          <a:lstStyle>
            <a:lvl1pPr algn="r">
              <a:defRPr kumimoji="0" lang="en-US" altLang="de-DE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2" name="Text Placeholder 47"/>
          <p:cNvSpPr>
            <a:spLocks noGrp="1"/>
          </p:cNvSpPr>
          <p:nvPr>
            <p:ph type="body" sz="quarter" idx="10"/>
          </p:nvPr>
        </p:nvSpPr>
        <p:spPr>
          <a:xfrm>
            <a:off x="1030169" y="2077377"/>
            <a:ext cx="6831817" cy="257635"/>
          </a:xfrm>
          <a:prstGeom prst="rect">
            <a:avLst/>
          </a:prstGeom>
        </p:spPr>
        <p:txBody>
          <a:bodyPr/>
          <a:lstStyle>
            <a:lvl1pPr algn="r"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340194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1158" r:id="rId8" imgW="0" imgH="0" progId="">
              <p:embed/>
            </p:oleObj>
          </a:graphicData>
        </a:graphic>
      </p:graphicFrame>
      <p:sp>
        <p:nvSpPr>
          <p:cNvPr id="5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flipH="1">
            <a:off x="0" y="620713"/>
            <a:ext cx="9906000" cy="920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00266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US" altLang="zh-CN" sz="2400">
              <a:solidFill>
                <a:srgbClr val="095095"/>
              </a:solidFill>
              <a:ea typeface="华文楷体" pitchFamily="2" charset="-122"/>
            </a:endParaRPr>
          </a:p>
        </p:txBody>
      </p:sp>
      <p:sp>
        <p:nvSpPr>
          <p:cNvPr id="6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321425"/>
            <a:ext cx="9906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endParaRPr lang="en-US" sz="2400">
              <a:solidFill>
                <a:schemeClr val="folHlink"/>
              </a:solidFill>
              <a:ea typeface="+mn-ea"/>
            </a:endParaRPr>
          </a:p>
        </p:txBody>
      </p:sp>
      <p:sp>
        <p:nvSpPr>
          <p:cNvPr id="7" name="Slide Number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444038" y="6481763"/>
            <a:ext cx="157162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spcBef>
                <a:spcPct val="0"/>
              </a:spcBef>
              <a:defRPr/>
            </a:pPr>
            <a:fld id="{042E3FD1-530B-4F51-A076-94B131CC0CC9}" type="slidenum">
              <a:rPr lang="en-US" sz="10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pPr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8" name="Doc Code" descr="casecod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848350" y="6481763"/>
            <a:ext cx="3465513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1pPr>
            <a:lvl2pPr marL="742950" indent="-285750"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2pPr>
            <a:lvl3pPr marL="1143000" indent="-228600"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3pPr>
            <a:lvl4pPr marL="1600200" indent="-228600"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4pPr>
            <a:lvl5pPr marL="2057400" indent="-228600"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9pPr>
          </a:lstStyle>
          <a:p>
            <a:pPr algn="r" eaLnBrk="1" hangingPunct="1">
              <a:defRPr/>
            </a:pPr>
            <a:r>
              <a:rPr lang="zh-CN" altLang="en-US" sz="1000" b="0" dirty="0" smtClean="0">
                <a:solidFill>
                  <a:schemeClr val="bg1"/>
                </a:solidFill>
              </a:rPr>
              <a:t>北京和易达软件技术有限公司</a:t>
            </a:r>
            <a:r>
              <a:rPr lang="en-US" altLang="zh-CN" sz="1000" b="0" dirty="0" smtClean="0">
                <a:solidFill>
                  <a:schemeClr val="bg1"/>
                </a:solidFill>
              </a:rPr>
              <a:t>– </a:t>
            </a:r>
            <a:r>
              <a:rPr lang="zh-CN" altLang="en-US" sz="1000" b="0" dirty="0" smtClean="0">
                <a:solidFill>
                  <a:schemeClr val="bg1"/>
                </a:solidFill>
              </a:rPr>
              <a:t>龙湖架构</a:t>
            </a:r>
            <a:endParaRPr lang="zh-CN" altLang="en-US" sz="1000" b="0" dirty="0">
              <a:solidFill>
                <a:schemeClr val="bg1"/>
              </a:solidFill>
            </a:endParaRPr>
          </a:p>
        </p:txBody>
      </p:sp>
      <p:sp>
        <p:nvSpPr>
          <p:cNvPr id="9" name="Slide Number Line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9375775" y="6497638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zh-CN" altLang="en-US"/>
          </a:p>
        </p:txBody>
      </p:sp>
      <p:graphicFrame>
        <p:nvGraphicFramePr>
          <p:cNvPr id="10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1159" r:id="rId9" imgW="0" imgH="0" progId="">
              <p:embed/>
            </p:oleObj>
          </a:graphicData>
        </a:graphic>
      </p:graphicFrame>
      <p:pic>
        <p:nvPicPr>
          <p:cNvPr id="13" name="Picture 2" descr="D:\工作\和易达\公司logo1.png"/>
          <p:cNvPicPr>
            <a:picLocks noChangeAspect="1" noChangeArrowheads="1"/>
          </p:cNvPicPr>
          <p:nvPr userDrawn="1"/>
        </p:nvPicPr>
        <p:blipFill>
          <a:blip r:embed="rId10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4988" y="6450013"/>
            <a:ext cx="22288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Placeholder 27"/>
          <p:cNvSpPr>
            <a:spLocks noGrp="1"/>
          </p:cNvSpPr>
          <p:nvPr>
            <p:ph type="title"/>
          </p:nvPr>
        </p:nvSpPr>
        <p:spPr>
          <a:xfrm>
            <a:off x="534989" y="747941"/>
            <a:ext cx="8840785" cy="72916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tabLst>
                <a:tab pos="8791575" algn="r"/>
              </a:tabLst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534989" y="1717675"/>
            <a:ext cx="8840785" cy="2241550"/>
          </a:xfrm>
        </p:spPr>
        <p:txBody>
          <a:bodyPr/>
          <a:lstStyle>
            <a:lvl1pPr>
              <a:tabLst>
                <a:tab pos="8791575" algn="r"/>
              </a:tabLst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065890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2182" r:id="rId8" imgW="0" imgH="0" progId="">
              <p:embed/>
            </p:oleObj>
          </a:graphicData>
        </a:graphic>
      </p:graphicFrame>
      <p:sp>
        <p:nvSpPr>
          <p:cNvPr id="5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flipH="1">
            <a:off x="0" y="620713"/>
            <a:ext cx="9906000" cy="920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00266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US" altLang="zh-CN" sz="2400">
              <a:solidFill>
                <a:srgbClr val="095095"/>
              </a:solidFill>
              <a:ea typeface="华文楷体" pitchFamily="2" charset="-122"/>
            </a:endParaRPr>
          </a:p>
        </p:txBody>
      </p:sp>
      <p:sp>
        <p:nvSpPr>
          <p:cNvPr id="6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321425"/>
            <a:ext cx="9906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endParaRPr lang="en-US" sz="2400">
              <a:solidFill>
                <a:schemeClr val="folHlink"/>
              </a:solidFill>
              <a:ea typeface="+mn-ea"/>
            </a:endParaRPr>
          </a:p>
        </p:txBody>
      </p:sp>
      <p:sp>
        <p:nvSpPr>
          <p:cNvPr id="7" name="Slide Number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444038" y="6481763"/>
            <a:ext cx="157162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spcBef>
                <a:spcPct val="0"/>
              </a:spcBef>
              <a:defRPr/>
            </a:pPr>
            <a:fld id="{BDE2B1E3-C99B-4DEE-9754-4EBC6DA3946A}" type="slidenum">
              <a:rPr lang="en-US" sz="10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pPr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8" name="Doc Code" descr="casecod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848350" y="6481763"/>
            <a:ext cx="3465513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1pPr>
            <a:lvl2pPr marL="742950" indent="-285750"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2pPr>
            <a:lvl3pPr marL="1143000" indent="-228600"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3pPr>
            <a:lvl4pPr marL="1600200" indent="-228600"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4pPr>
            <a:lvl5pPr marL="2057400" indent="-228600"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9pPr>
          </a:lstStyle>
          <a:p>
            <a:pPr algn="r" eaLnBrk="1" hangingPunct="1">
              <a:defRPr/>
            </a:pPr>
            <a:r>
              <a:rPr lang="zh-CN" altLang="en-US" sz="1000" b="0" dirty="0" smtClean="0">
                <a:solidFill>
                  <a:schemeClr val="bg1"/>
                </a:solidFill>
              </a:rPr>
              <a:t>北京和易达软件技术有限公司</a:t>
            </a:r>
            <a:r>
              <a:rPr lang="en-US" altLang="zh-CN" sz="1000" b="0" dirty="0" smtClean="0">
                <a:solidFill>
                  <a:schemeClr val="bg1"/>
                </a:solidFill>
              </a:rPr>
              <a:t>– </a:t>
            </a:r>
            <a:r>
              <a:rPr lang="zh-CN" altLang="en-US" sz="1000" b="0" dirty="0" smtClean="0">
                <a:solidFill>
                  <a:schemeClr val="bg1"/>
                </a:solidFill>
              </a:rPr>
              <a:t>龙湖架构</a:t>
            </a:r>
            <a:endParaRPr lang="zh-CN" altLang="en-US" sz="1000" b="0" dirty="0">
              <a:solidFill>
                <a:schemeClr val="bg1"/>
              </a:solidFill>
            </a:endParaRPr>
          </a:p>
        </p:txBody>
      </p:sp>
      <p:sp>
        <p:nvSpPr>
          <p:cNvPr id="9" name="Slide Number Line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9375775" y="6497638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zh-CN" altLang="en-US"/>
          </a:p>
        </p:txBody>
      </p:sp>
      <p:graphicFrame>
        <p:nvGraphicFramePr>
          <p:cNvPr id="10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2183" r:id="rId9" imgW="0" imgH="0" progId="">
              <p:embed/>
            </p:oleObj>
          </a:graphicData>
        </a:graphic>
      </p:graphicFrame>
      <p:pic>
        <p:nvPicPr>
          <p:cNvPr id="11" name="Picture 2" descr="D:\工作\和易达\公司logo1.png"/>
          <p:cNvPicPr>
            <a:picLocks noChangeAspect="1" noChangeArrowheads="1"/>
          </p:cNvPicPr>
          <p:nvPr userDrawn="1"/>
        </p:nvPicPr>
        <p:blipFill>
          <a:blip r:embed="rId10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4988" y="6450013"/>
            <a:ext cx="22288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52900" y="6858000"/>
            <a:ext cx="2032000" cy="42960"/>
          </a:xfrm>
          <a:prstGeom prst="rect">
            <a:avLst/>
          </a:prstGeom>
        </p:spPr>
        <p:txBody>
          <a:bodyPr rtlCol="0">
            <a:spAutoFit/>
          </a:bodyPr>
          <a:lstStyle>
            <a:lvl1pPr marL="452438" indent="-452438" algn="l">
              <a:buNone/>
              <a:defRPr kumimoji="0" lang="de-DE" sz="3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1165225" indent="-712788" algn="l">
              <a:buFont typeface="Arial" pitchFamily="34" charset="0"/>
              <a:buNone/>
              <a:defRPr sz="2100" b="1">
                <a:solidFill>
                  <a:sysClr val="windowText" lastClr="000000"/>
                </a:solidFill>
              </a:defRPr>
            </a:lvl2pPr>
            <a:lvl3pPr marL="542925" indent="0" algn="ctr">
              <a:buNone/>
              <a:defRPr sz="2100" b="1">
                <a:solidFill>
                  <a:sysClr val="windowText" lastClr="000000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228686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4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3206" r:id="rId16" imgW="0" imgH="0" progId="">
              <p:embed/>
            </p:oleObj>
          </a:graphicData>
        </a:graphic>
      </p:graphicFrame>
      <p:sp>
        <p:nvSpPr>
          <p:cNvPr id="10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flipH="1">
            <a:off x="0" y="620713"/>
            <a:ext cx="9906000" cy="920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00266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US" altLang="zh-CN" sz="2400">
              <a:solidFill>
                <a:srgbClr val="095095"/>
              </a:solidFill>
              <a:ea typeface="华文楷体" pitchFamily="2" charset="-122"/>
            </a:endParaRPr>
          </a:p>
        </p:txBody>
      </p:sp>
      <p:sp>
        <p:nvSpPr>
          <p:cNvPr id="11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321425"/>
            <a:ext cx="9906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endParaRPr lang="en-US" sz="2400">
              <a:solidFill>
                <a:schemeClr val="folHlink"/>
              </a:solidFill>
              <a:ea typeface="+mn-ea"/>
            </a:endParaRPr>
          </a:p>
        </p:txBody>
      </p:sp>
      <p:grpSp>
        <p:nvGrpSpPr>
          <p:cNvPr id="14" name="Group 78"/>
          <p:cNvGrpSpPr>
            <a:grpSpLocks/>
          </p:cNvGrpSpPr>
          <p:nvPr/>
        </p:nvGrpSpPr>
        <p:grpSpPr bwMode="auto">
          <a:xfrm>
            <a:off x="0" y="0"/>
            <a:ext cx="9906000" cy="6858000"/>
            <a:chOff x="0" y="0"/>
            <a:chExt cx="9906000" cy="6858000"/>
          </a:xfrm>
        </p:grpSpPr>
        <p:sp>
          <p:nvSpPr>
            <p:cNvPr id="15" name="Line 102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>
              <a:off x="0" y="747713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6" name="Line 95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53022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7" name="Line 99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937577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8" name="Line 100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0" y="196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9" name="Line 101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0" y="452438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20" name="Line 103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0" y="1720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</p:grpSp>
      <p:sp>
        <p:nvSpPr>
          <p:cNvPr id="21" name="Slide Number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444038" y="6481763"/>
            <a:ext cx="157162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spcBef>
                <a:spcPct val="0"/>
              </a:spcBef>
              <a:defRPr/>
            </a:pPr>
            <a:fld id="{D3B7B062-3984-471D-9257-8F1AA63078B1}" type="slidenum">
              <a:rPr lang="en-US" sz="10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pPr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22" name="Doc Code" descr="casecod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848350" y="6481763"/>
            <a:ext cx="3465513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>
              <a:defRPr sz="900" b="0" smtClean="0"/>
            </a:lvl1pPr>
          </a:lstStyle>
          <a:p>
            <a:pPr>
              <a:defRPr/>
            </a:pPr>
            <a:r>
              <a:rPr lang="zh-CN" altLang="en-US" sz="1000" dirty="0">
                <a:solidFill>
                  <a:schemeClr val="bg1"/>
                </a:solidFill>
                <a:latin typeface="Arial" pitchFamily="34" charset="0"/>
              </a:rPr>
              <a:t>北京和易达软件技术有限公司</a:t>
            </a:r>
            <a:r>
              <a:rPr lang="en-US" altLang="zh-CN" sz="1000" dirty="0">
                <a:solidFill>
                  <a:schemeClr val="bg1"/>
                </a:solidFill>
                <a:latin typeface="Arial" pitchFamily="34" charset="0"/>
              </a:rPr>
              <a:t>– </a:t>
            </a:r>
            <a:r>
              <a:rPr lang="zh-CN" altLang="en-US" sz="1000" dirty="0">
                <a:solidFill>
                  <a:schemeClr val="bg1"/>
                </a:solidFill>
                <a:latin typeface="Arial" pitchFamily="34" charset="0"/>
              </a:rPr>
              <a:t>龙湖架构</a:t>
            </a:r>
          </a:p>
        </p:txBody>
      </p:sp>
      <p:sp>
        <p:nvSpPr>
          <p:cNvPr id="23" name="Slide Number Line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9375775" y="6497638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zh-CN" altLang="en-US"/>
          </a:p>
        </p:txBody>
      </p:sp>
      <p:graphicFrame>
        <p:nvGraphicFramePr>
          <p:cNvPr id="2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3207" r:id="rId17" imgW="0" imgH="0" progId="">
              <p:embed/>
            </p:oleObj>
          </a:graphicData>
        </a:graphic>
      </p:graphicFrame>
      <p:pic>
        <p:nvPicPr>
          <p:cNvPr id="25" name="Picture 2" descr="D:\工作\和易达\公司logo1.png"/>
          <p:cNvPicPr>
            <a:picLocks noChangeAspect="1" noChangeArrowheads="1"/>
          </p:cNvPicPr>
          <p:nvPr userDrawn="1"/>
        </p:nvPicPr>
        <p:blipFill>
          <a:blip r:embed="rId18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4988" y="6450013"/>
            <a:ext cx="22288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736600" y="1000125"/>
            <a:ext cx="8535988" cy="661988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736600" y="1928813"/>
            <a:ext cx="4191000" cy="142154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080000" y="1928813"/>
            <a:ext cx="4192588" cy="142154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736600" y="3298825"/>
            <a:ext cx="4191000" cy="142154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0000" y="3298825"/>
            <a:ext cx="4192588" cy="142154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2" name="Content Placeholder 21"/>
          <p:cNvSpPr>
            <a:spLocks noGrp="1"/>
          </p:cNvSpPr>
          <p:nvPr>
            <p:ph sz="quarter" idx="12"/>
          </p:nvPr>
        </p:nvSpPr>
        <p:spPr>
          <a:xfrm>
            <a:off x="0" y="0"/>
            <a:ext cx="9906000" cy="803297"/>
          </a:xfrm>
          <a:prstGeom prst="rect">
            <a:avLst/>
          </a:prstGeom>
        </p:spPr>
        <p:txBody>
          <a:bodyPr/>
          <a:lstStyle>
            <a:lvl1pPr marL="0" marR="0" indent="0" algn="l" defTabSz="9525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800" baseline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21"/>
          <p:cNvSpPr>
            <a:spLocks noGrp="1"/>
          </p:cNvSpPr>
          <p:nvPr>
            <p:ph sz="quarter" idx="13"/>
          </p:nvPr>
        </p:nvSpPr>
        <p:spPr>
          <a:xfrm rot="10800000">
            <a:off x="0" y="6049008"/>
            <a:ext cx="9906000" cy="803297"/>
          </a:xfrm>
          <a:prstGeom prst="rect">
            <a:avLst/>
          </a:prstGeom>
        </p:spPr>
        <p:txBody>
          <a:bodyPr anchor="b"/>
          <a:lstStyle>
            <a:lvl1pPr marL="0" marR="0" indent="0" algn="l" defTabSz="9525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800" baseline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6" name="Footer Placeholder 22"/>
          <p:cNvSpPr>
            <a:spLocks noGrp="1"/>
          </p:cNvSpPr>
          <p:nvPr>
            <p:ph type="ftr" sz="quarter" idx="14"/>
            <p:custDataLst>
              <p:tags r:id="rId7"/>
            </p:custDataLst>
          </p:nvPr>
        </p:nvSpPr>
        <p:spPr>
          <a:xfrm>
            <a:off x="8499475" y="6867525"/>
            <a:ext cx="1262063" cy="3016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7" name="Slide Number Placeholder 28"/>
          <p:cNvSpPr>
            <a:spLocks noGrp="1"/>
          </p:cNvSpPr>
          <p:nvPr>
            <p:ph type="sldNum" sz="quarter" idx="15"/>
            <p:custDataLst>
              <p:tags r:id="rId8"/>
            </p:custDataLst>
          </p:nvPr>
        </p:nvSpPr>
        <p:spPr>
          <a:xfrm>
            <a:off x="9780588" y="6867525"/>
            <a:ext cx="119062" cy="3016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spcBef>
                <a:spcPct val="0"/>
              </a:spcBef>
              <a:defRPr sz="200" b="1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BB1F9989-B904-4D7F-B8BD-F69B4BAE087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2725412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Text,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4230" r:id="rId16" imgW="0" imgH="0" progId="">
              <p:embed/>
            </p:oleObj>
          </a:graphicData>
        </a:graphic>
      </p:graphicFrame>
      <p:sp>
        <p:nvSpPr>
          <p:cNvPr id="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flipH="1">
            <a:off x="0" y="620713"/>
            <a:ext cx="9906000" cy="920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00266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US" altLang="zh-CN" sz="2400">
              <a:solidFill>
                <a:srgbClr val="095095"/>
              </a:solidFill>
              <a:ea typeface="华文楷体" pitchFamily="2" charset="-122"/>
            </a:endParaRPr>
          </a:p>
        </p:txBody>
      </p:sp>
      <p:sp>
        <p:nvSpPr>
          <p:cNvPr id="9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321425"/>
            <a:ext cx="9906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endParaRPr lang="en-US" sz="2400">
              <a:solidFill>
                <a:schemeClr val="folHlink"/>
              </a:solidFill>
              <a:ea typeface="+mn-ea"/>
            </a:endParaRPr>
          </a:p>
        </p:txBody>
      </p:sp>
      <p:grpSp>
        <p:nvGrpSpPr>
          <p:cNvPr id="12" name="Group 78"/>
          <p:cNvGrpSpPr>
            <a:grpSpLocks/>
          </p:cNvGrpSpPr>
          <p:nvPr/>
        </p:nvGrpSpPr>
        <p:grpSpPr bwMode="auto">
          <a:xfrm>
            <a:off x="0" y="0"/>
            <a:ext cx="9906000" cy="6858000"/>
            <a:chOff x="0" y="0"/>
            <a:chExt cx="9906000" cy="6858000"/>
          </a:xfrm>
        </p:grpSpPr>
        <p:sp>
          <p:nvSpPr>
            <p:cNvPr id="13" name="Line 102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>
              <a:off x="0" y="747713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4" name="Line 95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53022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5" name="Line 99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9375775" y="0"/>
              <a:ext cx="0" cy="685800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6" name="Line 100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0" y="196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7" name="Line 101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0" y="452438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8" name="Line 103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0" y="1720850"/>
              <a:ext cx="990600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</p:grpSp>
      <p:sp>
        <p:nvSpPr>
          <p:cNvPr id="19" name="Slide Number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444038" y="6481763"/>
            <a:ext cx="157162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spcBef>
                <a:spcPct val="0"/>
              </a:spcBef>
              <a:defRPr/>
            </a:pPr>
            <a:fld id="{1A8B2C5F-5B3B-49ED-8710-FB7B283DB662}" type="slidenum">
              <a:rPr lang="en-US" sz="10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pPr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20" name="Doc Code" descr="casecod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848350" y="6481763"/>
            <a:ext cx="3465513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>
              <a:defRPr sz="900" b="0" smtClean="0"/>
            </a:lvl1pPr>
          </a:lstStyle>
          <a:p>
            <a:pPr>
              <a:defRPr/>
            </a:pPr>
            <a:r>
              <a:rPr lang="zh-CN" altLang="en-US" sz="1000" dirty="0">
                <a:solidFill>
                  <a:schemeClr val="bg1"/>
                </a:solidFill>
                <a:latin typeface="Arial" pitchFamily="34" charset="0"/>
              </a:rPr>
              <a:t>北京和易达软件技术有限公司</a:t>
            </a:r>
            <a:r>
              <a:rPr lang="en-US" altLang="zh-CN" sz="1000" dirty="0">
                <a:solidFill>
                  <a:schemeClr val="bg1"/>
                </a:solidFill>
                <a:latin typeface="Arial" pitchFamily="34" charset="0"/>
              </a:rPr>
              <a:t>– </a:t>
            </a:r>
            <a:r>
              <a:rPr lang="zh-CN" altLang="en-US" sz="1000" dirty="0">
                <a:solidFill>
                  <a:schemeClr val="bg1"/>
                </a:solidFill>
                <a:latin typeface="Arial" pitchFamily="34" charset="0"/>
              </a:rPr>
              <a:t>龙湖架构</a:t>
            </a:r>
          </a:p>
        </p:txBody>
      </p:sp>
      <p:sp>
        <p:nvSpPr>
          <p:cNvPr id="21" name="Slide Number Line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9375775" y="6497638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zh-CN" altLang="en-US"/>
          </a:p>
        </p:txBody>
      </p:sp>
      <p:graphicFrame>
        <p:nvGraphicFramePr>
          <p:cNvPr id="2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4231" r:id="rId17" imgW="0" imgH="0" progId="">
              <p:embed/>
            </p:oleObj>
          </a:graphicData>
        </a:graphic>
      </p:graphicFrame>
      <p:pic>
        <p:nvPicPr>
          <p:cNvPr id="23" name="Picture 2" descr="D:\工作\和易达\公司logo1.png"/>
          <p:cNvPicPr>
            <a:picLocks noChangeAspect="1" noChangeArrowheads="1"/>
          </p:cNvPicPr>
          <p:nvPr userDrawn="1"/>
        </p:nvPicPr>
        <p:blipFill>
          <a:blip r:embed="rId18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4988" y="6450013"/>
            <a:ext cx="22288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0" y="1000125"/>
            <a:ext cx="8535988" cy="661988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36600" y="1928813"/>
            <a:ext cx="4191000" cy="142154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0" y="1928813"/>
            <a:ext cx="4192588" cy="142154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Content Placeholder 21"/>
          <p:cNvSpPr>
            <a:spLocks noGrp="1"/>
          </p:cNvSpPr>
          <p:nvPr>
            <p:ph sz="quarter" idx="12"/>
          </p:nvPr>
        </p:nvSpPr>
        <p:spPr>
          <a:xfrm>
            <a:off x="0" y="0"/>
            <a:ext cx="9906000" cy="803297"/>
          </a:xfrm>
          <a:prstGeom prst="rect">
            <a:avLst/>
          </a:prstGeom>
        </p:spPr>
        <p:txBody>
          <a:bodyPr/>
          <a:lstStyle>
            <a:lvl1pPr marL="0" marR="0" indent="0" algn="l" defTabSz="9525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800" baseline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1"/>
          <p:cNvSpPr>
            <a:spLocks noGrp="1"/>
          </p:cNvSpPr>
          <p:nvPr>
            <p:ph sz="quarter" idx="13"/>
          </p:nvPr>
        </p:nvSpPr>
        <p:spPr>
          <a:xfrm rot="10800000">
            <a:off x="0" y="6054703"/>
            <a:ext cx="9906000" cy="803297"/>
          </a:xfrm>
          <a:prstGeom prst="rect">
            <a:avLst/>
          </a:prstGeom>
        </p:spPr>
        <p:txBody>
          <a:bodyPr anchor="b"/>
          <a:lstStyle>
            <a:lvl1pPr marL="0" marR="0" indent="0" algn="l" defTabSz="9525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800" baseline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4" name="Footer Placeholder 22"/>
          <p:cNvSpPr>
            <a:spLocks noGrp="1"/>
          </p:cNvSpPr>
          <p:nvPr>
            <p:ph type="ftr" sz="quarter" idx="14"/>
            <p:custDataLst>
              <p:tags r:id="rId7"/>
            </p:custDataLst>
          </p:nvPr>
        </p:nvSpPr>
        <p:spPr>
          <a:xfrm>
            <a:off x="8499475" y="6867525"/>
            <a:ext cx="1262063" cy="3016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5" name="Slide Number Placeholder 28"/>
          <p:cNvSpPr>
            <a:spLocks noGrp="1"/>
          </p:cNvSpPr>
          <p:nvPr>
            <p:ph type="sldNum" sz="quarter" idx="15"/>
            <p:custDataLst>
              <p:tags r:id="rId8"/>
            </p:custDataLst>
          </p:nvPr>
        </p:nvSpPr>
        <p:spPr>
          <a:xfrm>
            <a:off x="9780588" y="6867525"/>
            <a:ext cx="119062" cy="3016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spcBef>
                <a:spcPct val="0"/>
              </a:spcBef>
              <a:defRPr sz="200" b="1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C63DCB6A-A80B-4721-9807-D0CB0F55DE3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242962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45" r:id="rId26" imgW="0" imgH="0" progId="">
              <p:embed/>
            </p:oleObj>
          </a:graphicData>
        </a:graphic>
      </p:graphicFrame>
      <p:sp>
        <p:nvSpPr>
          <p:cNvPr id="1027" name="Rectangle 2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 flipH="1">
            <a:off x="0" y="620713"/>
            <a:ext cx="9906000" cy="920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00266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US" altLang="zh-CN" sz="2400">
              <a:solidFill>
                <a:srgbClr val="095095"/>
              </a:solidFill>
              <a:ea typeface="华文楷体" pitchFamily="2" charset="-122"/>
            </a:endParaRPr>
          </a:p>
        </p:txBody>
      </p:sp>
      <p:sp>
        <p:nvSpPr>
          <p:cNvPr id="13" name="Rectangle 12"/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0" y="6321425"/>
            <a:ext cx="9906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endParaRPr lang="en-US" sz="2400">
              <a:solidFill>
                <a:schemeClr val="folHlink"/>
              </a:solidFill>
              <a:ea typeface="+mn-ea"/>
            </a:endParaRPr>
          </a:p>
        </p:txBody>
      </p:sp>
      <p:pic>
        <p:nvPicPr>
          <p:cNvPr id="1029" name="Picture 27" descr="内页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27" cstate="print">
            <a:clrChange>
              <a:clrFrom>
                <a:srgbClr val="221F41"/>
              </a:clrFrom>
              <a:clrTo>
                <a:srgbClr val="221F4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584" t="90486" r="68855" b="139"/>
          <a:stretch>
            <a:fillRect/>
          </a:stretch>
        </p:blipFill>
        <p:spPr bwMode="auto">
          <a:xfrm>
            <a:off x="534988" y="6400800"/>
            <a:ext cx="1425575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Slide Number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9444038" y="6481763"/>
            <a:ext cx="157162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spcBef>
                <a:spcPct val="0"/>
              </a:spcBef>
              <a:defRPr/>
            </a:pPr>
            <a:fld id="{7C5EBB17-7593-4280-95AF-F30AFFC78745}" type="slidenum">
              <a:rPr lang="en-US" sz="10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pPr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26" name="Doc Code" descr="casecode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5848350" y="6481763"/>
            <a:ext cx="3465513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1pPr>
            <a:lvl2pPr marL="742950" indent="-285750"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2pPr>
            <a:lvl3pPr marL="1143000" indent="-228600"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3pPr>
            <a:lvl4pPr marL="1600200" indent="-228600"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4pPr>
            <a:lvl5pPr marL="2057400" indent="-228600" eaLnBrk="0" hangingPunct="0">
              <a:spcBef>
                <a:spcPct val="0"/>
              </a:spcBef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9pPr>
          </a:lstStyle>
          <a:p>
            <a:pPr algn="r" eaLnBrk="1" hangingPunct="1">
              <a:defRPr/>
            </a:pPr>
            <a:r>
              <a:rPr lang="zh-CN" altLang="en-US" sz="1000" b="0" smtClean="0">
                <a:solidFill>
                  <a:schemeClr val="bg1"/>
                </a:solidFill>
              </a:rPr>
              <a:t>集团战略及公司品牌部</a:t>
            </a:r>
            <a:r>
              <a:rPr lang="en-US" altLang="zh-CN" sz="1000" b="0" smtClean="0">
                <a:solidFill>
                  <a:schemeClr val="bg1"/>
                </a:solidFill>
              </a:rPr>
              <a:t> – </a:t>
            </a:r>
            <a:r>
              <a:rPr lang="zh-CN" altLang="en-US" sz="1000" b="0" smtClean="0">
                <a:solidFill>
                  <a:schemeClr val="bg1"/>
                </a:solidFill>
              </a:rPr>
              <a:t>商业</a:t>
            </a:r>
            <a:r>
              <a:rPr lang="en-US" altLang="zh-CN" sz="1000" b="0" smtClean="0">
                <a:solidFill>
                  <a:schemeClr val="bg1"/>
                </a:solidFill>
              </a:rPr>
              <a:t>PPT</a:t>
            </a:r>
            <a:r>
              <a:rPr lang="zh-CN" altLang="en-US" sz="1000" b="0" smtClean="0">
                <a:solidFill>
                  <a:schemeClr val="bg1"/>
                </a:solidFill>
              </a:rPr>
              <a:t>写作要领培训</a:t>
            </a:r>
          </a:p>
        </p:txBody>
      </p:sp>
      <p:sp>
        <p:nvSpPr>
          <p:cNvPr id="1032" name="Slide Number Line"/>
          <p:cNvSpPr>
            <a:spLocks noChangeShapeType="1"/>
          </p:cNvSpPr>
          <p:nvPr>
            <p:custDataLst>
              <p:tags r:id="rId25"/>
            </p:custDataLst>
          </p:nvPr>
        </p:nvSpPr>
        <p:spPr bwMode="auto">
          <a:xfrm>
            <a:off x="9375775" y="6497638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1033" name="Title Placeholder 27"/>
          <p:cNvSpPr>
            <a:spLocks noGrp="1"/>
          </p:cNvSpPr>
          <p:nvPr>
            <p:ph type="title"/>
          </p:nvPr>
        </p:nvSpPr>
        <p:spPr bwMode="auto">
          <a:xfrm>
            <a:off x="534988" y="747713"/>
            <a:ext cx="8840787" cy="728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单击此处编辑母版标题样式</a:t>
            </a:r>
          </a:p>
        </p:txBody>
      </p:sp>
      <p:sp>
        <p:nvSpPr>
          <p:cNvPr id="1034" name="Text Placeholder 28"/>
          <p:cNvSpPr>
            <a:spLocks noGrp="1"/>
          </p:cNvSpPr>
          <p:nvPr>
            <p:ph type="body" idx="1"/>
          </p:nvPr>
        </p:nvSpPr>
        <p:spPr bwMode="auto">
          <a:xfrm>
            <a:off x="534988" y="1720850"/>
            <a:ext cx="8840787" cy="2198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单击此处编辑母版文本样式</a:t>
            </a:r>
          </a:p>
          <a:p>
            <a:pPr lvl="1"/>
            <a:r>
              <a:rPr lang="en-US" smtClean="0"/>
              <a:t>第二级</a:t>
            </a:r>
          </a:p>
          <a:p>
            <a:pPr lvl="2"/>
            <a:r>
              <a:rPr lang="en-US" smtClean="0"/>
              <a:t>第三级</a:t>
            </a:r>
          </a:p>
          <a:p>
            <a:pPr lvl="3"/>
            <a:r>
              <a:rPr lang="en-US" smtClean="0"/>
              <a:t>第四级</a:t>
            </a:r>
          </a:p>
          <a:p>
            <a:pPr lvl="4"/>
            <a:r>
              <a:rPr lang="en-US" smtClean="0"/>
              <a:t>第五级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76" r:id="rId1"/>
    <p:sldLayoutId id="2147484577" r:id="rId2"/>
    <p:sldLayoutId id="2147484578" r:id="rId3"/>
    <p:sldLayoutId id="2147484579" r:id="rId4"/>
    <p:sldLayoutId id="2147484580" r:id="rId5"/>
    <p:sldLayoutId id="2147484581" r:id="rId6"/>
    <p:sldLayoutId id="2147484582" r:id="rId7"/>
    <p:sldLayoutId id="2147484583" r:id="rId8"/>
    <p:sldLayoutId id="2147484584" r:id="rId9"/>
    <p:sldLayoutId id="2147484585" r:id="rId10"/>
    <p:sldLayoutId id="2147484586" r:id="rId11"/>
    <p:sldLayoutId id="2147484587" r:id="rId12"/>
    <p:sldLayoutId id="2147484588" r:id="rId13"/>
    <p:sldLayoutId id="2147484589" r:id="rId14"/>
    <p:sldLayoutId id="2147484590" r:id="rId15"/>
    <p:sldLayoutId id="2147484591" r:id="rId16"/>
    <p:sldLayoutId id="2147484592" r:id="rId17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华文楷体" pitchFamily="2" charset="-122"/>
        </a:defRPr>
      </a:lvl2pPr>
      <a:lvl3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华文楷体" pitchFamily="2" charset="-122"/>
        </a:defRPr>
      </a:lvl3pPr>
      <a:lvl4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华文楷体" pitchFamily="2" charset="-122"/>
        </a:defRPr>
      </a:lvl4pPr>
      <a:lvl5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华文楷体" pitchFamily="2" charset="-122"/>
        </a:defRPr>
      </a:lvl5pPr>
      <a:lvl6pPr marL="457200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华文楷体" pitchFamily="2" charset="-122"/>
        </a:defRPr>
      </a:lvl6pPr>
      <a:lvl7pPr marL="914400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华文楷体" pitchFamily="2" charset="-122"/>
        </a:defRPr>
      </a:lvl7pPr>
      <a:lvl8pPr marL="1371600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华文楷体" pitchFamily="2" charset="-122"/>
        </a:defRPr>
      </a:lvl8pPr>
      <a:lvl9pPr marL="1828800" algn="l" rtl="0" eaLnBrk="1" fontAlgn="base" hangingPunct="1">
        <a:lnSpc>
          <a:spcPct val="93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华文楷体" pitchFamily="2" charset="-122"/>
        </a:defRPr>
      </a:lvl9pPr>
    </p:titleStyle>
    <p:bodyStyle>
      <a:lvl1pPr marL="342900" indent="-342900" algn="l" rtl="0" eaLnBrk="0" fontAlgn="base" hangingPunct="0">
        <a:lnSpc>
          <a:spcPct val="93000"/>
        </a:lnSpc>
        <a:spcBef>
          <a:spcPts val="25"/>
        </a:spcBef>
        <a:spcAft>
          <a:spcPct val="0"/>
        </a:spcAft>
        <a:buFont typeface="Arial" charset="0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rtl="0" eaLnBrk="0" fontAlgn="base" hangingPunct="0">
        <a:lnSpc>
          <a:spcPct val="93000"/>
        </a:lnSpc>
        <a:spcBef>
          <a:spcPts val="12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81013" indent="-233363" algn="l" rtl="0" eaLnBrk="0" fontAlgn="base" hangingPunct="0">
        <a:lnSpc>
          <a:spcPct val="93000"/>
        </a:lnSpc>
        <a:spcBef>
          <a:spcPts val="38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96913" indent="-200025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969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charset="0"/>
        <a:defRPr sz="20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标题占位符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2051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D669A89-82C8-4307-9E2F-09BB135158A7}" type="datetimeFigureOut">
              <a:rPr lang="zh-CN" altLang="en-US"/>
              <a:pPr>
                <a:defRPr/>
              </a:pPr>
              <a:t>2012/12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289B13C-895C-4AC3-8ACD-8054318FCCC5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65" r:id="rId1"/>
    <p:sldLayoutId id="2147484566" r:id="rId2"/>
    <p:sldLayoutId id="2147484567" r:id="rId3"/>
    <p:sldLayoutId id="2147484568" r:id="rId4"/>
    <p:sldLayoutId id="2147484569" r:id="rId5"/>
    <p:sldLayoutId id="2147484570" r:id="rId6"/>
    <p:sldLayoutId id="2147484571" r:id="rId7"/>
    <p:sldLayoutId id="2147484572" r:id="rId8"/>
    <p:sldLayoutId id="2147484573" r:id="rId9"/>
    <p:sldLayoutId id="2147484574" r:id="rId10"/>
    <p:sldLayoutId id="2147484575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diagramLayout" Target="../diagrams/layout8.xml"/><Relationship Id="rId7" Type="http://schemas.openxmlformats.org/officeDocument/2006/relationships/image" Target="../media/image9.png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wmf"/><Relationship Id="rId3" Type="http://schemas.openxmlformats.org/officeDocument/2006/relationships/diagramLayout" Target="../diagrams/layout9.xml"/><Relationship Id="rId7" Type="http://schemas.openxmlformats.org/officeDocument/2006/relationships/image" Target="../media/image11.wmf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Relationship Id="rId9" Type="http://schemas.openxmlformats.org/officeDocument/2006/relationships/image" Target="../media/image13.w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3.xml"/><Relationship Id="rId13" Type="http://schemas.openxmlformats.org/officeDocument/2006/relationships/diagramLayout" Target="../diagrams/layout14.xml"/><Relationship Id="rId3" Type="http://schemas.openxmlformats.org/officeDocument/2006/relationships/diagramLayout" Target="../diagrams/layout12.xml"/><Relationship Id="rId7" Type="http://schemas.openxmlformats.org/officeDocument/2006/relationships/diagramData" Target="../diagrams/data13.xml"/><Relationship Id="rId12" Type="http://schemas.openxmlformats.org/officeDocument/2006/relationships/diagramData" Target="../diagrams/data14.xml"/><Relationship Id="rId2" Type="http://schemas.openxmlformats.org/officeDocument/2006/relationships/diagramData" Target="../diagrams/data12.xml"/><Relationship Id="rId16" Type="http://schemas.microsoft.com/office/2007/relationships/diagramDrawing" Target="../diagrams/drawing1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2.xml"/><Relationship Id="rId11" Type="http://schemas.microsoft.com/office/2007/relationships/diagramDrawing" Target="../diagrams/drawing13.xml"/><Relationship Id="rId5" Type="http://schemas.openxmlformats.org/officeDocument/2006/relationships/diagramColors" Target="../diagrams/colors12.xml"/><Relationship Id="rId15" Type="http://schemas.openxmlformats.org/officeDocument/2006/relationships/diagramColors" Target="../diagrams/colors14.xml"/><Relationship Id="rId10" Type="http://schemas.openxmlformats.org/officeDocument/2006/relationships/diagramColors" Target="../diagrams/colors13.xml"/><Relationship Id="rId4" Type="http://schemas.openxmlformats.org/officeDocument/2006/relationships/diagramQuickStyle" Target="../diagrams/quickStyle12.xml"/><Relationship Id="rId9" Type="http://schemas.openxmlformats.org/officeDocument/2006/relationships/diagramQuickStyle" Target="../diagrams/quickStyle13.xml"/><Relationship Id="rId14" Type="http://schemas.openxmlformats.org/officeDocument/2006/relationships/diagramQuickStyle" Target="../diagrams/quickStyle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wmf"/><Relationship Id="rId2" Type="http://schemas.openxmlformats.org/officeDocument/2006/relationships/image" Target="../media/image7.wmf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9.png"/><Relationship Id="rId4" Type="http://schemas.openxmlformats.org/officeDocument/2006/relationships/image" Target="../media/image18.wmf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2" Type="http://schemas.openxmlformats.org/officeDocument/2006/relationships/diagramData" Target="../diagrams/data16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6.xml"/><Relationship Id="rId5" Type="http://schemas.openxmlformats.org/officeDocument/2006/relationships/diagramColors" Target="../diagrams/colors16.xml"/><Relationship Id="rId4" Type="http://schemas.openxmlformats.org/officeDocument/2006/relationships/diagramQuickStyle" Target="../diagrams/quickStyle1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7.xml"/><Relationship Id="rId7" Type="http://schemas.microsoft.com/office/2007/relationships/diagramDrawing" Target="../diagrams/drawing17.xml"/><Relationship Id="rId2" Type="http://schemas.openxmlformats.org/officeDocument/2006/relationships/image" Target="../media/image7.wmf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7.xml"/><Relationship Id="rId5" Type="http://schemas.openxmlformats.org/officeDocument/2006/relationships/diagramQuickStyle" Target="../diagrams/quickStyle17.xml"/><Relationship Id="rId4" Type="http://schemas.openxmlformats.org/officeDocument/2006/relationships/diagramLayout" Target="../diagrams/layout1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8.xml"/><Relationship Id="rId2" Type="http://schemas.openxmlformats.org/officeDocument/2006/relationships/diagramData" Target="../diagrams/data18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8.xml"/><Relationship Id="rId5" Type="http://schemas.openxmlformats.org/officeDocument/2006/relationships/diagramColors" Target="../diagrams/colors18.xml"/><Relationship Id="rId4" Type="http://schemas.openxmlformats.org/officeDocument/2006/relationships/diagramQuickStyle" Target="../diagrams/quickStyle1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9.xml"/><Relationship Id="rId2" Type="http://schemas.openxmlformats.org/officeDocument/2006/relationships/diagramData" Target="../diagrams/data19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9.xml"/><Relationship Id="rId5" Type="http://schemas.openxmlformats.org/officeDocument/2006/relationships/diagramColors" Target="../diagrams/colors19.xml"/><Relationship Id="rId4" Type="http://schemas.openxmlformats.org/officeDocument/2006/relationships/diagramQuickStyle" Target="../diagrams/quickStyle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1.xml"/><Relationship Id="rId3" Type="http://schemas.openxmlformats.org/officeDocument/2006/relationships/diagramData" Target="../diagrams/data20.xml"/><Relationship Id="rId7" Type="http://schemas.microsoft.com/office/2007/relationships/diagramDrawing" Target="../diagrams/drawing20.xml"/><Relationship Id="rId12" Type="http://schemas.microsoft.com/office/2007/relationships/diagramDrawing" Target="../diagrams/drawing21.xm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0.xml"/><Relationship Id="rId11" Type="http://schemas.openxmlformats.org/officeDocument/2006/relationships/diagramColors" Target="../diagrams/colors21.xml"/><Relationship Id="rId5" Type="http://schemas.openxmlformats.org/officeDocument/2006/relationships/diagramQuickStyle" Target="../diagrams/quickStyle20.xml"/><Relationship Id="rId10" Type="http://schemas.openxmlformats.org/officeDocument/2006/relationships/diagramQuickStyle" Target="../diagrams/quickStyle21.xml"/><Relationship Id="rId4" Type="http://schemas.openxmlformats.org/officeDocument/2006/relationships/diagramLayout" Target="../diagrams/layout20.xml"/><Relationship Id="rId9" Type="http://schemas.openxmlformats.org/officeDocument/2006/relationships/diagramLayout" Target="../diagrams/layout2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2.xml"/><Relationship Id="rId2" Type="http://schemas.openxmlformats.org/officeDocument/2006/relationships/diagramData" Target="../diagrams/data2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2.xml"/><Relationship Id="rId5" Type="http://schemas.openxmlformats.org/officeDocument/2006/relationships/diagramColors" Target="../diagrams/colors22.xml"/><Relationship Id="rId4" Type="http://schemas.openxmlformats.org/officeDocument/2006/relationships/diagramQuickStyle" Target="../diagrams/quickStyle2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4.xml"/><Relationship Id="rId3" Type="http://schemas.openxmlformats.org/officeDocument/2006/relationships/diagramLayout" Target="../diagrams/layout23.xml"/><Relationship Id="rId7" Type="http://schemas.openxmlformats.org/officeDocument/2006/relationships/diagramData" Target="../diagrams/data24.xml"/><Relationship Id="rId2" Type="http://schemas.openxmlformats.org/officeDocument/2006/relationships/diagramData" Target="../diagrams/data2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3.xml"/><Relationship Id="rId11" Type="http://schemas.microsoft.com/office/2007/relationships/diagramDrawing" Target="../diagrams/drawing24.xml"/><Relationship Id="rId5" Type="http://schemas.openxmlformats.org/officeDocument/2006/relationships/diagramColors" Target="../diagrams/colors23.xml"/><Relationship Id="rId10" Type="http://schemas.openxmlformats.org/officeDocument/2006/relationships/diagramColors" Target="../diagrams/colors24.xml"/><Relationship Id="rId4" Type="http://schemas.openxmlformats.org/officeDocument/2006/relationships/diagramQuickStyle" Target="../diagrams/quickStyle23.xml"/><Relationship Id="rId9" Type="http://schemas.openxmlformats.org/officeDocument/2006/relationships/diagramQuickStyle" Target="../diagrams/quickStyle2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wmf"/><Relationship Id="rId2" Type="http://schemas.openxmlformats.org/officeDocument/2006/relationships/image" Target="../media/image7.wmf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ctrTitle" sz="quarter"/>
          </p:nvPr>
        </p:nvSpPr>
        <p:spPr>
          <a:xfrm>
            <a:off x="552450" y="1133475"/>
            <a:ext cx="8872538" cy="457200"/>
          </a:xfrm>
          <a:ln/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zh-CN" altLang="en-US" smtClean="0"/>
              <a:t>龙湖技术架构</a:t>
            </a:r>
          </a:p>
        </p:txBody>
      </p:sp>
      <p:sp>
        <p:nvSpPr>
          <p:cNvPr id="20483" name="Subtitle 2"/>
          <p:cNvSpPr>
            <a:spLocks noGrp="1"/>
          </p:cNvSpPr>
          <p:nvPr>
            <p:ph type="subTitle" sz="quarter" idx="1"/>
          </p:nvPr>
        </p:nvSpPr>
        <p:spPr>
          <a:xfrm>
            <a:off x="552450" y="3141663"/>
            <a:ext cx="8872538" cy="285750"/>
          </a:xfrm>
        </p:spPr>
        <p:txBody>
          <a:bodyPr/>
          <a:lstStyle/>
          <a:p>
            <a:pPr eaLnBrk="1" hangingPunct="1"/>
            <a:r>
              <a:rPr lang="en-US" altLang="zh-CN" smtClean="0"/>
              <a:t>2012</a:t>
            </a:r>
            <a:r>
              <a:rPr lang="zh-CN" altLang="en-US" smtClean="0"/>
              <a:t>年</a:t>
            </a:r>
            <a:r>
              <a:rPr lang="en-US" altLang="zh-CN" smtClean="0"/>
              <a:t>4</a:t>
            </a:r>
            <a:r>
              <a:rPr lang="zh-CN" altLang="en-US" smtClean="0"/>
              <a:t>月  </a:t>
            </a:r>
          </a:p>
        </p:txBody>
      </p:sp>
      <p:sp>
        <p:nvSpPr>
          <p:cNvPr id="2048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52450" y="2413000"/>
            <a:ext cx="8872538" cy="342900"/>
          </a:xfrm>
        </p:spPr>
        <p:txBody>
          <a:bodyPr/>
          <a:lstStyle/>
          <a:p>
            <a:pPr eaLnBrk="1" hangingPunct="1"/>
            <a:r>
              <a:rPr lang="zh-CN" altLang="en-US" smtClean="0"/>
              <a:t>和易达国内事业部龙胡项目组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基于列表，卡片的页面规范</a:t>
            </a:r>
            <a:endParaRPr lang="en-US" altLang="zh-CN" sz="2000" b="1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  <p:sp>
        <p:nvSpPr>
          <p:cNvPr id="29699" name="Rectangle 14"/>
          <p:cNvSpPr>
            <a:spLocks noChangeArrowheads="1"/>
          </p:cNvSpPr>
          <p:nvPr/>
        </p:nvSpPr>
        <p:spPr bwMode="auto">
          <a:xfrm>
            <a:off x="1600200" y="4670425"/>
            <a:ext cx="963613" cy="3587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</a:pPr>
            <a:endParaRPr lang="en-US" altLang="zh-CN" sz="1600" b="1">
              <a:ea typeface="华文楷体" pitchFamily="2" charset="-122"/>
            </a:endParaRPr>
          </a:p>
        </p:txBody>
      </p:sp>
      <p:sp>
        <p:nvSpPr>
          <p:cNvPr id="29700" name="Rectangle 15"/>
          <p:cNvSpPr>
            <a:spLocks noChangeArrowheads="1"/>
          </p:cNvSpPr>
          <p:nvPr/>
        </p:nvSpPr>
        <p:spPr bwMode="auto">
          <a:xfrm>
            <a:off x="7366000" y="4670425"/>
            <a:ext cx="927100" cy="3714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</a:pPr>
            <a:endParaRPr lang="en-US" altLang="zh-CN" sz="1600" b="1">
              <a:ea typeface="华文楷体" pitchFamily="2" charset="-122"/>
            </a:endParaRPr>
          </a:p>
        </p:txBody>
      </p:sp>
      <p:graphicFrame>
        <p:nvGraphicFramePr>
          <p:cNvPr id="2" name="图示 1"/>
          <p:cNvGraphicFramePr/>
          <p:nvPr/>
        </p:nvGraphicFramePr>
        <p:xfrm>
          <a:off x="269771" y="749257"/>
          <a:ext cx="4116700" cy="54925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7589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95525" y="792163"/>
            <a:ext cx="7610475" cy="541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7590" name="Picture 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33650" y="2563813"/>
            <a:ext cx="7134225" cy="1876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5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75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75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675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675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75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5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75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75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4" dur="500"/>
                                        <p:tgtEl>
                                          <p:spTgt spid="675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675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75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代码规范：代码规范与生成</a:t>
            </a:r>
            <a:endParaRPr lang="en-US" altLang="zh-CN" sz="2000" b="1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  <p:sp>
        <p:nvSpPr>
          <p:cNvPr id="30723" name="Rectangle 14"/>
          <p:cNvSpPr>
            <a:spLocks noChangeArrowheads="1"/>
          </p:cNvSpPr>
          <p:nvPr/>
        </p:nvSpPr>
        <p:spPr bwMode="auto">
          <a:xfrm>
            <a:off x="1600200" y="4670425"/>
            <a:ext cx="963613" cy="3587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</a:pPr>
            <a:endParaRPr lang="en-US" altLang="zh-CN" sz="1600" b="1">
              <a:ea typeface="华文楷体" pitchFamily="2" charset="-122"/>
            </a:endParaRPr>
          </a:p>
        </p:txBody>
      </p:sp>
      <p:graphicFrame>
        <p:nvGraphicFramePr>
          <p:cNvPr id="3" name="图示 2"/>
          <p:cNvGraphicFramePr/>
          <p:nvPr/>
        </p:nvGraphicFramePr>
        <p:xfrm>
          <a:off x="942631" y="750588"/>
          <a:ext cx="7538760" cy="26684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30725" name="Picture 3" descr="D:\Program Files (x86)\Microsoft Office\MEDIA\CAGCAT10\j0292020.wmf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88238" y="3892550"/>
            <a:ext cx="1868487" cy="177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6" name="Picture 5" descr="D:\Program Files (x86)\Microsoft Office\MEDIA\CAGCAT10\j0301252.wmf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2413" y="2651125"/>
            <a:ext cx="1828800" cy="156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环形箭头 3"/>
          <p:cNvSpPr/>
          <p:nvPr/>
        </p:nvSpPr>
        <p:spPr>
          <a:xfrm rot="15904037">
            <a:off x="5890305" y="3750157"/>
            <a:ext cx="1902732" cy="2384427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0775989"/>
              <a:gd name="adj5" fmla="val 12500"/>
            </a:avLst>
          </a:prstGeom>
          <a:ln>
            <a:solidFill>
              <a:srgbClr val="003F56"/>
            </a:solidFill>
          </a:ln>
        </p:spPr>
        <p:style>
          <a:lnRef idx="0">
            <a:schemeClr val="accent2"/>
          </a:lnRef>
          <a:fillRef idx="1003">
            <a:schemeClr val="dk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vert" lIns="0" tIns="0" rIns="0" bIns="0" anchor="ctr"/>
          <a:lstStyle/>
          <a:p>
            <a:pPr algn="ctr">
              <a:defRPr/>
            </a:pPr>
            <a:r>
              <a:rPr lang="zh-CN" altLang="en-US" sz="2800" dirty="0">
                <a:solidFill>
                  <a:schemeClr val="tx1"/>
                </a:solidFill>
                <a:latin typeface="华文新魏" pitchFamily="2" charset="-122"/>
                <a:ea typeface="华文新魏" pitchFamily="2" charset="-122"/>
                <a:cs typeface="Arial" pitchFamily="34" charset="0"/>
              </a:rPr>
              <a:t>修改</a:t>
            </a:r>
          </a:p>
        </p:txBody>
      </p:sp>
      <p:pic>
        <p:nvPicPr>
          <p:cNvPr id="30730" name="Picture 7" descr="C:\Users\Administrator\AppData\Local\Microsoft\Windows\Temporary Internet Files\Content.IE5\52TC0AU3\MC900297565[1].wmf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2088" y="4449763"/>
            <a:ext cx="2840037" cy="181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代码规范：生成卡片的数据验证</a:t>
            </a:r>
            <a:endParaRPr lang="zh-CN" altLang="en-US" dirty="0"/>
          </a:p>
        </p:txBody>
      </p:sp>
      <p:graphicFrame>
        <p:nvGraphicFramePr>
          <p:cNvPr id="7" name="表格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413135619"/>
              </p:ext>
            </p:extLst>
          </p:nvPr>
        </p:nvGraphicFramePr>
        <p:xfrm>
          <a:off x="350728" y="1653436"/>
          <a:ext cx="3532340" cy="2091845"/>
        </p:xfrm>
        <a:graphic>
          <a:graphicData uri="http://schemas.openxmlformats.org/drawingml/2006/table">
            <a:tbl>
              <a:tblPr firstRow="1" bandRow="1" bandCol="1">
                <a:tableStyleId>{5A111915-BE36-4E01-A7E5-04B1672EAD32}</a:tableStyleId>
              </a:tblPr>
              <a:tblGrid>
                <a:gridCol w="2283840"/>
                <a:gridCol w="1248500"/>
              </a:tblGrid>
              <a:tr h="418369"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名称的</a:t>
                      </a:r>
                      <a:r>
                        <a:rPr lang="en-US" altLang="zh-CN" sz="1800" dirty="0" smtClean="0"/>
                        <a:t>HTML</a:t>
                      </a:r>
                      <a:r>
                        <a:rPr lang="zh-CN" altLang="en-US" sz="1800" dirty="0" smtClean="0"/>
                        <a:t>属性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属性值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</a:tr>
              <a:tr h="418369"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dbtype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AnsiString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</a:tr>
              <a:tr h="4183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 smtClean="0"/>
                        <a:t>dblen</a:t>
                      </a:r>
                      <a:endParaRPr lang="zh-CN" altLang="en-US" sz="1800" dirty="0" smtClean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8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</a:tr>
              <a:tr h="4183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 smtClean="0"/>
                        <a:t>maxlength</a:t>
                      </a:r>
                      <a:endParaRPr lang="zh-CN" altLang="en-US" sz="1800" dirty="0" smtClean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8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</a:tr>
              <a:tr h="4183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 smtClean="0"/>
                        <a:t>chk</a:t>
                      </a:r>
                      <a:endParaRPr lang="zh-CN" altLang="en-US" sz="1800" dirty="0" smtClean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$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 bwMode="auto">
          <a:xfrm>
            <a:off x="325675" y="1014609"/>
            <a:ext cx="676405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eaLnBrk="1" hangingPunct="1">
              <a:spcBef>
                <a:spcPct val="0"/>
              </a:spcBef>
            </a:pPr>
            <a:r>
              <a:rPr lang="zh-CN" altLang="en-US" sz="2000" dirty="0" smtClean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以数据库表中的列</a:t>
            </a:r>
            <a:r>
              <a:rPr lang="en-US" altLang="zh-CN" sz="2000" dirty="0" smtClean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Name</a:t>
            </a:r>
            <a:r>
              <a:rPr lang="zh-CN" altLang="en-US" sz="2000" dirty="0" smtClean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为例：生成如下</a:t>
            </a:r>
            <a:r>
              <a:rPr lang="en-US" altLang="zh-CN" sz="2000" dirty="0" smtClean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HTML</a:t>
            </a:r>
            <a:r>
              <a:rPr lang="zh-CN" altLang="en-US" sz="2000" dirty="0" smtClean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属性</a:t>
            </a:r>
          </a:p>
        </p:txBody>
      </p:sp>
      <p:graphicFrame>
        <p:nvGraphicFramePr>
          <p:cNvPr id="12" name="表格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413135619"/>
              </p:ext>
            </p:extLst>
          </p:nvPr>
        </p:nvGraphicFramePr>
        <p:xfrm>
          <a:off x="4922727" y="1628384"/>
          <a:ext cx="4471793" cy="2091845"/>
        </p:xfrm>
        <a:graphic>
          <a:graphicData uri="http://schemas.openxmlformats.org/drawingml/2006/table">
            <a:tbl>
              <a:tblPr firstRow="1" bandRow="1" bandCol="1">
                <a:tableStyleId>{5A111915-BE36-4E01-A7E5-04B1672EAD32}</a:tableStyleId>
              </a:tblPr>
              <a:tblGrid>
                <a:gridCol w="1809783"/>
                <a:gridCol w="1557696"/>
                <a:gridCol w="1104314"/>
              </a:tblGrid>
              <a:tr h="418369"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输入值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验证结果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存储长度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</a:tr>
              <a:tr h="418369"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12345678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通过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8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</a:tr>
              <a:tr h="4183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dirty="0" smtClean="0"/>
                        <a:t>龙门飞甲</a:t>
                      </a:r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通过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8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</a:tr>
              <a:tr h="4183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dirty="0" smtClean="0"/>
                        <a:t>龙门飞甲</a:t>
                      </a:r>
                      <a:r>
                        <a:rPr lang="en-US" altLang="zh-CN" sz="1800" dirty="0" smtClean="0"/>
                        <a:t>a</a:t>
                      </a:r>
                      <a:endParaRPr lang="zh-CN" altLang="en-US" sz="1800" dirty="0" smtClean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不通过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9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</a:tr>
              <a:tr h="4183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dirty="0" smtClean="0"/>
                        <a:t>空字符串</a:t>
                      </a:r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通过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0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</a:tr>
            </a:tbl>
          </a:graphicData>
        </a:graphic>
      </p:graphicFrame>
      <p:sp>
        <p:nvSpPr>
          <p:cNvPr id="13" name="矩形 12"/>
          <p:cNvSpPr/>
          <p:nvPr/>
        </p:nvSpPr>
        <p:spPr>
          <a:xfrm flipV="1">
            <a:off x="-119063" y="4054475"/>
            <a:ext cx="10229851" cy="2293938"/>
          </a:xfrm>
          <a:prstGeom prst="rect">
            <a:avLst/>
          </a:prstGeom>
          <a:solidFill>
            <a:schemeClr val="accent1">
              <a:alpha val="25000"/>
            </a:schemeClr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zh-CN" alt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14" name="图示 13"/>
          <p:cNvGraphicFramePr/>
          <p:nvPr>
            <p:extLst>
              <p:ext uri="{D42A27DB-BD31-4B8C-83A1-F6EECF244321}">
                <p14:modId xmlns:p14="http://schemas.microsoft.com/office/powerpoint/2010/main" xmlns="" val="95058781"/>
              </p:ext>
            </p:extLst>
          </p:nvPr>
        </p:nvGraphicFramePr>
        <p:xfrm>
          <a:off x="455779" y="4329268"/>
          <a:ext cx="9051476" cy="18199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Graphic spid="14" grpId="0">
        <p:bldAsOne/>
      </p:bldGraphic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代码规范：生成卡片的数据验证</a:t>
            </a:r>
            <a:endParaRPr lang="zh-CN" altLang="en-US" dirty="0"/>
          </a:p>
        </p:txBody>
      </p:sp>
      <p:graphicFrame>
        <p:nvGraphicFramePr>
          <p:cNvPr id="7" name="表格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413135619"/>
              </p:ext>
            </p:extLst>
          </p:nvPr>
        </p:nvGraphicFramePr>
        <p:xfrm>
          <a:off x="350728" y="1653436"/>
          <a:ext cx="8768220" cy="3986992"/>
        </p:xfrm>
        <a:graphic>
          <a:graphicData uri="http://schemas.openxmlformats.org/drawingml/2006/table">
            <a:tbl>
              <a:tblPr firstRow="1" bandRow="1" bandCol="1">
                <a:tableStyleId>{5A111915-BE36-4E01-A7E5-04B1672EAD32}</a:tableStyleId>
              </a:tblPr>
              <a:tblGrid>
                <a:gridCol w="2342607"/>
                <a:gridCol w="1891398"/>
                <a:gridCol w="1289974"/>
                <a:gridCol w="1640909"/>
                <a:gridCol w="1603332"/>
              </a:tblGrid>
              <a:tr h="418369"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dbtype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数据库定义类型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maxlength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dblen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限定数据范围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</a:tr>
              <a:tr h="418369"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AnsiString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varchar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dirty="0" smtClean="0"/>
                        <a:t>数据库定义长度</a:t>
                      </a:r>
                    </a:p>
                  </a:txBody>
                  <a:tcPr marL="91448" marR="91448" marT="45700" marB="45700"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800" dirty="0" smtClean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dirty="0" smtClean="0"/>
                        <a:t>否</a:t>
                      </a:r>
                    </a:p>
                  </a:txBody>
                  <a:tcPr marL="91448" marR="91448" marT="45700" marB="45700"/>
                </a:tc>
              </a:tr>
              <a:tr h="4183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 smtClean="0"/>
                        <a:t>String</a:t>
                      </a:r>
                      <a:endParaRPr lang="zh-CN" altLang="en-US" sz="1800" dirty="0" smtClean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 smtClean="0"/>
                        <a:t>Nvarchar</a:t>
                      </a:r>
                      <a:endParaRPr lang="zh-CN" altLang="en-US" sz="1800" dirty="0" smtClean="0"/>
                    </a:p>
                  </a:txBody>
                  <a:tcPr marL="91448" marR="91448" marT="45700" marB="45700"/>
                </a:tc>
                <a:tc gridSpan="2">
                  <a:txBody>
                    <a:bodyPr/>
                    <a:lstStyle/>
                    <a:p>
                      <a:r>
                        <a:rPr lang="zh-CN" altLang="en-US" sz="1800" dirty="0" smtClean="0"/>
                        <a:t>数据库定义长度</a:t>
                      </a:r>
                    </a:p>
                  </a:txBody>
                  <a:tcPr marL="91448" marR="91448" marT="45700" marB="45700"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800" dirty="0" smtClean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dirty="0" smtClean="0"/>
                        <a:t>否</a:t>
                      </a:r>
                    </a:p>
                  </a:txBody>
                  <a:tcPr marL="91448" marR="91448" marT="45700" marB="45700"/>
                </a:tc>
              </a:tr>
              <a:tr h="4183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 smtClean="0"/>
                        <a:t>Int32</a:t>
                      </a:r>
                      <a:endParaRPr lang="zh-CN" altLang="en-US" sz="1800" dirty="0" smtClean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 smtClean="0"/>
                        <a:t>Int</a:t>
                      </a:r>
                      <a:endParaRPr lang="zh-CN" altLang="en-US" sz="1800" dirty="0" smtClean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11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4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是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</a:tr>
              <a:tr h="4183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 smtClean="0"/>
                        <a:t>Int16</a:t>
                      </a:r>
                      <a:endParaRPr lang="zh-CN" altLang="en-US" sz="1800" dirty="0" smtClean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 smtClean="0"/>
                        <a:t>Smallint</a:t>
                      </a:r>
                      <a:endParaRPr lang="zh-CN" altLang="en-US" sz="1800" dirty="0" smtClean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6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2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是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</a:tr>
              <a:tr h="4183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 smtClean="0"/>
                        <a:t>DateTime</a:t>
                      </a:r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 smtClean="0"/>
                        <a:t>datetime</a:t>
                      </a:r>
                      <a:endParaRPr lang="zh-CN" altLang="en-US" sz="1800" dirty="0" smtClean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9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8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否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</a:tr>
              <a:tr h="4183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oolean</a:t>
                      </a:r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 smtClean="0"/>
                        <a:t>Bit</a:t>
                      </a:r>
                      <a:endParaRPr lang="zh-CN" altLang="en-US" sz="1800" dirty="0" smtClean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2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1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否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</a:tr>
              <a:tr h="4183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cimal</a:t>
                      </a:r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cimal</a:t>
                      </a:r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21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17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否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</a:tr>
              <a:tr h="4183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ingle</a:t>
                      </a:r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loat</a:t>
                      </a:r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en-US" altLang="zh-CN" sz="1800" dirty="0" smtClean="0"/>
                        <a:t>8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否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 bwMode="auto">
          <a:xfrm>
            <a:off x="325675" y="1014609"/>
            <a:ext cx="676405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zh-CN" sz="2000" dirty="0" smtClean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dbtype</a:t>
            </a:r>
            <a:r>
              <a:rPr lang="zh-CN" altLang="en-US" sz="2000" dirty="0" smtClean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与</a:t>
            </a:r>
            <a:r>
              <a:rPr lang="en-US" altLang="zh-CN" sz="2000" dirty="0" smtClean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maxlength,dblen </a:t>
            </a:r>
            <a:r>
              <a:rPr lang="zh-CN" altLang="en-US" sz="2000" dirty="0" smtClean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关系。</a:t>
            </a:r>
          </a:p>
        </p:txBody>
      </p:sp>
      <p:cxnSp>
        <p:nvCxnSpPr>
          <p:cNvPr id="8" name="直接箭头连接符 7"/>
          <p:cNvCxnSpPr>
            <a:endCxn id="9" idx="1"/>
          </p:cNvCxnSpPr>
          <p:nvPr/>
        </p:nvCxnSpPr>
        <p:spPr>
          <a:xfrm>
            <a:off x="5185775" y="4597052"/>
            <a:ext cx="3169085" cy="1497194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9" name="圆角矩形 8"/>
          <p:cNvSpPr/>
          <p:nvPr/>
        </p:nvSpPr>
        <p:spPr>
          <a:xfrm>
            <a:off x="8354860" y="5785149"/>
            <a:ext cx="1551140" cy="618194"/>
          </a:xfrm>
          <a:prstGeom prst="roundRect">
            <a:avLst>
              <a:gd name="adj" fmla="val 7791"/>
            </a:avLst>
          </a:prstGeom>
          <a:solidFill>
            <a:schemeClr val="accent4">
              <a:lumMod val="75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是，不是</a:t>
            </a:r>
            <a:endParaRPr lang="en-US" altLang="zh-CN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cxnSp>
        <p:nvCxnSpPr>
          <p:cNvPr id="18" name="直接箭头连接符 17"/>
          <p:cNvCxnSpPr>
            <a:endCxn id="19" idx="1"/>
          </p:cNvCxnSpPr>
          <p:nvPr/>
        </p:nvCxnSpPr>
        <p:spPr>
          <a:xfrm flipV="1">
            <a:off x="5223353" y="1196569"/>
            <a:ext cx="2555310" cy="2122828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9" name="圆角矩形 18"/>
          <p:cNvSpPr/>
          <p:nvPr/>
        </p:nvSpPr>
        <p:spPr>
          <a:xfrm>
            <a:off x="7778663" y="887472"/>
            <a:ext cx="2127337" cy="618194"/>
          </a:xfrm>
          <a:prstGeom prst="roundRect">
            <a:avLst>
              <a:gd name="adj" fmla="val 7791"/>
            </a:avLst>
          </a:prstGeom>
          <a:solidFill>
            <a:schemeClr val="accent4">
              <a:lumMod val="75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多一个符号位</a:t>
            </a:r>
            <a:endParaRPr lang="en-US" altLang="zh-CN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业务功能</a:t>
            </a:r>
            <a:r>
              <a:rPr lang="en-US" altLang="zh-CN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—</a:t>
            </a: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权限控制</a:t>
            </a:r>
            <a:endParaRPr lang="en-US" altLang="zh-CN" sz="2000" b="1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  <p:graphicFrame>
        <p:nvGraphicFramePr>
          <p:cNvPr id="142" name="图示 141"/>
          <p:cNvGraphicFramePr/>
          <p:nvPr/>
        </p:nvGraphicFramePr>
        <p:xfrm>
          <a:off x="430515" y="1465058"/>
          <a:ext cx="8971391" cy="36579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圆角矩形 122"/>
          <p:cNvSpPr/>
          <p:nvPr/>
        </p:nvSpPr>
        <p:spPr>
          <a:xfrm>
            <a:off x="4854751" y="803398"/>
            <a:ext cx="4254079" cy="4729894"/>
          </a:xfrm>
          <a:prstGeom prst="roundRect">
            <a:avLst>
              <a:gd name="adj" fmla="val 7298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b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华文新魏" pitchFamily="2" charset="-122"/>
                <a:ea typeface="华文新魏" pitchFamily="2" charset="-122"/>
                <a:cs typeface="Arial" pitchFamily="34" charset="0"/>
              </a:rPr>
              <a:t>服务器端</a:t>
            </a:r>
          </a:p>
        </p:txBody>
      </p:sp>
      <p:sp>
        <p:nvSpPr>
          <p:cNvPr id="124" name="圆角矩形 123"/>
          <p:cNvSpPr/>
          <p:nvPr/>
        </p:nvSpPr>
        <p:spPr>
          <a:xfrm>
            <a:off x="385745" y="806486"/>
            <a:ext cx="4254079" cy="4729894"/>
          </a:xfrm>
          <a:prstGeom prst="roundRect">
            <a:avLst>
              <a:gd name="adj" fmla="val 7298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b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华文新魏" pitchFamily="2" charset="-122"/>
                <a:ea typeface="华文新魏" pitchFamily="2" charset="-122"/>
                <a:cs typeface="Arial" pitchFamily="34" charset="0"/>
              </a:rPr>
              <a:t>客户端</a:t>
            </a:r>
          </a:p>
        </p:txBody>
      </p:sp>
      <p:sp>
        <p:nvSpPr>
          <p:cNvPr id="32772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业务功能</a:t>
            </a:r>
            <a:r>
              <a:rPr lang="en-US" altLang="zh-CN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—</a:t>
            </a: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权限控制</a:t>
            </a:r>
            <a:endParaRPr lang="en-US" altLang="zh-CN" sz="2000" b="1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  <p:sp>
        <p:nvSpPr>
          <p:cNvPr id="2" name="Webpage"/>
          <p:cNvSpPr>
            <a:spLocks noEditPoints="1" noChangeArrowheads="1"/>
          </p:cNvSpPr>
          <p:nvPr/>
        </p:nvSpPr>
        <p:spPr bwMode="auto">
          <a:xfrm>
            <a:off x="8090756" y="1043021"/>
            <a:ext cx="676275" cy="904875"/>
          </a:xfrm>
          <a:custGeom>
            <a:avLst/>
            <a:gdLst>
              <a:gd name="T0" fmla="*/ 5187 w 21600"/>
              <a:gd name="T1" fmla="*/ 21600 h 21600"/>
              <a:gd name="T2" fmla="*/ 0 w 21600"/>
              <a:gd name="T3" fmla="*/ 17509 h 21600"/>
              <a:gd name="T4" fmla="*/ 21600 w 21600"/>
              <a:gd name="T5" fmla="*/ 0 h 21600"/>
              <a:gd name="T6" fmla="*/ 0 w 21600"/>
              <a:gd name="T7" fmla="*/ 0 h 21600"/>
              <a:gd name="T8" fmla="*/ 10800 w 21600"/>
              <a:gd name="T9" fmla="*/ 0 h 21600"/>
              <a:gd name="T10" fmla="*/ 21600 w 21600"/>
              <a:gd name="T11" fmla="*/ 0 h 21600"/>
              <a:gd name="T12" fmla="*/ 21600 w 21600"/>
              <a:gd name="T13" fmla="*/ 10800 h 21600"/>
              <a:gd name="T14" fmla="*/ 21600 w 21600"/>
              <a:gd name="T15" fmla="*/ 21600 h 21600"/>
              <a:gd name="T16" fmla="*/ 10800 w 21600"/>
              <a:gd name="T17" fmla="*/ 21600 h 21600"/>
              <a:gd name="T18" fmla="*/ 0 w 21600"/>
              <a:gd name="T19" fmla="*/ 10800 h 21600"/>
              <a:gd name="T20" fmla="*/ 1955 w 21600"/>
              <a:gd name="T21" fmla="*/ 12829 h 21600"/>
              <a:gd name="T22" fmla="*/ 19814 w 21600"/>
              <a:gd name="T23" fmla="*/ 20749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 extrusionOk="0">
                <a:moveTo>
                  <a:pt x="9184" y="949"/>
                </a:moveTo>
                <a:lnTo>
                  <a:pt x="9758" y="1309"/>
                </a:lnTo>
                <a:lnTo>
                  <a:pt x="11544" y="1292"/>
                </a:lnTo>
                <a:lnTo>
                  <a:pt x="12437" y="1292"/>
                </a:lnTo>
                <a:lnTo>
                  <a:pt x="13414" y="1161"/>
                </a:lnTo>
                <a:lnTo>
                  <a:pt x="13648" y="1243"/>
                </a:lnTo>
                <a:lnTo>
                  <a:pt x="13542" y="1390"/>
                </a:lnTo>
                <a:lnTo>
                  <a:pt x="13967" y="1849"/>
                </a:lnTo>
                <a:lnTo>
                  <a:pt x="14562" y="2520"/>
                </a:lnTo>
                <a:lnTo>
                  <a:pt x="14669" y="3223"/>
                </a:lnTo>
                <a:lnTo>
                  <a:pt x="14796" y="3518"/>
                </a:lnTo>
                <a:lnTo>
                  <a:pt x="15264" y="3665"/>
                </a:lnTo>
                <a:lnTo>
                  <a:pt x="15753" y="3518"/>
                </a:lnTo>
                <a:lnTo>
                  <a:pt x="15902" y="2978"/>
                </a:lnTo>
                <a:lnTo>
                  <a:pt x="16008" y="2323"/>
                </a:lnTo>
                <a:moveTo>
                  <a:pt x="10757" y="21632"/>
                </a:moveTo>
                <a:lnTo>
                  <a:pt x="5187" y="21632"/>
                </a:lnTo>
                <a:lnTo>
                  <a:pt x="85" y="17509"/>
                </a:lnTo>
                <a:lnTo>
                  <a:pt x="85" y="10849"/>
                </a:lnTo>
                <a:lnTo>
                  <a:pt x="85" y="81"/>
                </a:lnTo>
                <a:lnTo>
                  <a:pt x="10757" y="81"/>
                </a:lnTo>
                <a:lnTo>
                  <a:pt x="21706" y="81"/>
                </a:lnTo>
                <a:lnTo>
                  <a:pt x="21706" y="10652"/>
                </a:lnTo>
                <a:lnTo>
                  <a:pt x="21706" y="21632"/>
                </a:lnTo>
                <a:lnTo>
                  <a:pt x="10757" y="21632"/>
                </a:lnTo>
                <a:close/>
              </a:path>
              <a:path w="21600" h="21600" extrusionOk="0">
                <a:moveTo>
                  <a:pt x="85" y="17509"/>
                </a:moveTo>
                <a:lnTo>
                  <a:pt x="5187" y="17509"/>
                </a:lnTo>
                <a:lnTo>
                  <a:pt x="5187" y="21632"/>
                </a:lnTo>
                <a:lnTo>
                  <a:pt x="85" y="17509"/>
                </a:lnTo>
                <a:close/>
              </a:path>
              <a:path w="21600" h="21600" extrusionOk="0">
                <a:moveTo>
                  <a:pt x="5591" y="10620"/>
                </a:moveTo>
                <a:lnTo>
                  <a:pt x="6122" y="10996"/>
                </a:lnTo>
                <a:lnTo>
                  <a:pt x="6696" y="11340"/>
                </a:lnTo>
                <a:lnTo>
                  <a:pt x="7313" y="11618"/>
                </a:lnTo>
                <a:lnTo>
                  <a:pt x="7972" y="11863"/>
                </a:lnTo>
                <a:lnTo>
                  <a:pt x="8652" y="12060"/>
                </a:lnTo>
                <a:lnTo>
                  <a:pt x="9396" y="12190"/>
                </a:lnTo>
                <a:lnTo>
                  <a:pt x="10119" y="12272"/>
                </a:lnTo>
                <a:lnTo>
                  <a:pt x="10906" y="12305"/>
                </a:lnTo>
                <a:lnTo>
                  <a:pt x="11650" y="12272"/>
                </a:lnTo>
                <a:lnTo>
                  <a:pt x="12373" y="12190"/>
                </a:lnTo>
                <a:lnTo>
                  <a:pt x="13117" y="12060"/>
                </a:lnTo>
                <a:lnTo>
                  <a:pt x="13797" y="11863"/>
                </a:lnTo>
                <a:lnTo>
                  <a:pt x="14456" y="11618"/>
                </a:lnTo>
                <a:lnTo>
                  <a:pt x="15073" y="11340"/>
                </a:lnTo>
                <a:lnTo>
                  <a:pt x="15647" y="11029"/>
                </a:lnTo>
                <a:lnTo>
                  <a:pt x="16178" y="10652"/>
                </a:lnTo>
                <a:lnTo>
                  <a:pt x="16667" y="10243"/>
                </a:lnTo>
                <a:lnTo>
                  <a:pt x="17071" y="9801"/>
                </a:lnTo>
                <a:lnTo>
                  <a:pt x="17475" y="9327"/>
                </a:lnTo>
                <a:lnTo>
                  <a:pt x="17815" y="8820"/>
                </a:lnTo>
                <a:lnTo>
                  <a:pt x="18049" y="8296"/>
                </a:lnTo>
                <a:lnTo>
                  <a:pt x="18262" y="7723"/>
                </a:lnTo>
                <a:lnTo>
                  <a:pt x="18347" y="7134"/>
                </a:lnTo>
                <a:lnTo>
                  <a:pt x="18389" y="6561"/>
                </a:lnTo>
                <a:lnTo>
                  <a:pt x="18347" y="5956"/>
                </a:lnTo>
                <a:lnTo>
                  <a:pt x="18262" y="5400"/>
                </a:lnTo>
                <a:lnTo>
                  <a:pt x="18049" y="4827"/>
                </a:lnTo>
                <a:lnTo>
                  <a:pt x="17815" y="4303"/>
                </a:lnTo>
                <a:lnTo>
                  <a:pt x="17475" y="3796"/>
                </a:lnTo>
                <a:lnTo>
                  <a:pt x="17114" y="3321"/>
                </a:lnTo>
                <a:lnTo>
                  <a:pt x="16710" y="2880"/>
                </a:lnTo>
                <a:lnTo>
                  <a:pt x="16221" y="2470"/>
                </a:lnTo>
                <a:lnTo>
                  <a:pt x="15689" y="2094"/>
                </a:lnTo>
                <a:lnTo>
                  <a:pt x="15115" y="1750"/>
                </a:lnTo>
                <a:lnTo>
                  <a:pt x="14499" y="1472"/>
                </a:lnTo>
                <a:lnTo>
                  <a:pt x="13797" y="1227"/>
                </a:lnTo>
                <a:lnTo>
                  <a:pt x="13117" y="1030"/>
                </a:lnTo>
                <a:lnTo>
                  <a:pt x="12415" y="883"/>
                </a:lnTo>
                <a:lnTo>
                  <a:pt x="11650" y="818"/>
                </a:lnTo>
                <a:lnTo>
                  <a:pt x="10906" y="785"/>
                </a:lnTo>
                <a:lnTo>
                  <a:pt x="10119" y="818"/>
                </a:lnTo>
                <a:lnTo>
                  <a:pt x="9396" y="883"/>
                </a:lnTo>
                <a:lnTo>
                  <a:pt x="8652" y="1030"/>
                </a:lnTo>
                <a:lnTo>
                  <a:pt x="8014" y="1227"/>
                </a:lnTo>
                <a:lnTo>
                  <a:pt x="7355" y="1440"/>
                </a:lnTo>
                <a:lnTo>
                  <a:pt x="6739" y="1750"/>
                </a:lnTo>
                <a:lnTo>
                  <a:pt x="6122" y="2061"/>
                </a:lnTo>
                <a:lnTo>
                  <a:pt x="5591" y="2438"/>
                </a:lnTo>
                <a:lnTo>
                  <a:pt x="5102" y="2847"/>
                </a:lnTo>
                <a:lnTo>
                  <a:pt x="4698" y="3289"/>
                </a:lnTo>
                <a:lnTo>
                  <a:pt x="4294" y="3763"/>
                </a:lnTo>
                <a:lnTo>
                  <a:pt x="3996" y="4270"/>
                </a:lnTo>
                <a:lnTo>
                  <a:pt x="3720" y="4794"/>
                </a:lnTo>
                <a:lnTo>
                  <a:pt x="3550" y="5367"/>
                </a:lnTo>
                <a:lnTo>
                  <a:pt x="3422" y="5956"/>
                </a:lnTo>
                <a:lnTo>
                  <a:pt x="3380" y="6561"/>
                </a:lnTo>
                <a:lnTo>
                  <a:pt x="3422" y="7134"/>
                </a:lnTo>
                <a:lnTo>
                  <a:pt x="3550" y="7690"/>
                </a:lnTo>
                <a:lnTo>
                  <a:pt x="3720" y="8263"/>
                </a:lnTo>
                <a:lnTo>
                  <a:pt x="3954" y="8787"/>
                </a:lnTo>
                <a:lnTo>
                  <a:pt x="4294" y="9294"/>
                </a:lnTo>
                <a:lnTo>
                  <a:pt x="4655" y="9769"/>
                </a:lnTo>
                <a:lnTo>
                  <a:pt x="5102" y="10210"/>
                </a:lnTo>
                <a:lnTo>
                  <a:pt x="5591" y="10620"/>
                </a:lnTo>
                <a:close/>
              </a:path>
              <a:path w="21600" h="21600" extrusionOk="0">
                <a:moveTo>
                  <a:pt x="3401" y="6021"/>
                </a:moveTo>
                <a:lnTo>
                  <a:pt x="4039" y="5530"/>
                </a:lnTo>
                <a:lnTo>
                  <a:pt x="4294" y="4892"/>
                </a:lnTo>
                <a:lnTo>
                  <a:pt x="4677" y="4156"/>
                </a:lnTo>
                <a:lnTo>
                  <a:pt x="5166" y="3763"/>
                </a:lnTo>
                <a:lnTo>
                  <a:pt x="5378" y="3354"/>
                </a:lnTo>
                <a:lnTo>
                  <a:pt x="5293" y="2732"/>
                </a:lnTo>
                <a:moveTo>
                  <a:pt x="3507" y="7380"/>
                </a:moveTo>
                <a:lnTo>
                  <a:pt x="3890" y="7200"/>
                </a:lnTo>
                <a:lnTo>
                  <a:pt x="4103" y="7249"/>
                </a:lnTo>
                <a:lnTo>
                  <a:pt x="4400" y="7527"/>
                </a:lnTo>
                <a:lnTo>
                  <a:pt x="4719" y="7674"/>
                </a:lnTo>
                <a:lnTo>
                  <a:pt x="5293" y="7641"/>
                </a:lnTo>
                <a:lnTo>
                  <a:pt x="5740" y="7543"/>
                </a:lnTo>
                <a:lnTo>
                  <a:pt x="6144" y="7543"/>
                </a:lnTo>
                <a:lnTo>
                  <a:pt x="6526" y="7821"/>
                </a:lnTo>
                <a:lnTo>
                  <a:pt x="6569" y="8312"/>
                </a:lnTo>
                <a:lnTo>
                  <a:pt x="6059" y="8852"/>
                </a:lnTo>
                <a:lnTo>
                  <a:pt x="5803" y="8967"/>
                </a:lnTo>
                <a:lnTo>
                  <a:pt x="5803" y="9147"/>
                </a:lnTo>
                <a:lnTo>
                  <a:pt x="5421" y="9294"/>
                </a:lnTo>
                <a:lnTo>
                  <a:pt x="4868" y="9163"/>
                </a:lnTo>
                <a:lnTo>
                  <a:pt x="4337" y="9049"/>
                </a:lnTo>
                <a:lnTo>
                  <a:pt x="4081" y="9000"/>
                </a:lnTo>
                <a:moveTo>
                  <a:pt x="14988" y="11372"/>
                </a:moveTo>
                <a:lnTo>
                  <a:pt x="15115" y="10865"/>
                </a:lnTo>
                <a:lnTo>
                  <a:pt x="16072" y="10096"/>
                </a:lnTo>
                <a:lnTo>
                  <a:pt x="16455" y="9605"/>
                </a:lnTo>
                <a:lnTo>
                  <a:pt x="16455" y="8329"/>
                </a:lnTo>
                <a:lnTo>
                  <a:pt x="17156" y="7969"/>
                </a:lnTo>
                <a:lnTo>
                  <a:pt x="17879" y="7870"/>
                </a:lnTo>
                <a:lnTo>
                  <a:pt x="18177" y="7821"/>
                </a:lnTo>
                <a:moveTo>
                  <a:pt x="18368" y="6840"/>
                </a:moveTo>
                <a:lnTo>
                  <a:pt x="18049" y="6610"/>
                </a:lnTo>
                <a:lnTo>
                  <a:pt x="17411" y="6512"/>
                </a:lnTo>
                <a:lnTo>
                  <a:pt x="16859" y="6545"/>
                </a:lnTo>
                <a:lnTo>
                  <a:pt x="16603" y="6201"/>
                </a:lnTo>
                <a:lnTo>
                  <a:pt x="16731" y="5874"/>
                </a:lnTo>
                <a:lnTo>
                  <a:pt x="17241" y="5465"/>
                </a:lnTo>
                <a:lnTo>
                  <a:pt x="17858" y="5236"/>
                </a:lnTo>
                <a:lnTo>
                  <a:pt x="18007" y="5089"/>
                </a:lnTo>
                <a:lnTo>
                  <a:pt x="18049" y="4892"/>
                </a:lnTo>
                <a:moveTo>
                  <a:pt x="8100" y="1260"/>
                </a:moveTo>
                <a:cubicBezTo>
                  <a:pt x="8333" y="1276"/>
                  <a:pt x="8206" y="1554"/>
                  <a:pt x="8695" y="1652"/>
                </a:cubicBezTo>
                <a:cubicBezTo>
                  <a:pt x="9184" y="1750"/>
                  <a:pt x="10481" y="1685"/>
                  <a:pt x="10991" y="1881"/>
                </a:cubicBezTo>
                <a:cubicBezTo>
                  <a:pt x="11501" y="2078"/>
                  <a:pt x="11629" y="2503"/>
                  <a:pt x="11799" y="2830"/>
                </a:cubicBezTo>
                <a:cubicBezTo>
                  <a:pt x="11969" y="3158"/>
                  <a:pt x="11905" y="3910"/>
                  <a:pt x="12054" y="3894"/>
                </a:cubicBezTo>
                <a:cubicBezTo>
                  <a:pt x="12203" y="3878"/>
                  <a:pt x="12351" y="2880"/>
                  <a:pt x="12649" y="2683"/>
                </a:cubicBezTo>
                <a:cubicBezTo>
                  <a:pt x="12947" y="2487"/>
                  <a:pt x="13670" y="2536"/>
                  <a:pt x="13840" y="2683"/>
                </a:cubicBezTo>
                <a:cubicBezTo>
                  <a:pt x="14010" y="2830"/>
                  <a:pt x="13733" y="3370"/>
                  <a:pt x="13648" y="3616"/>
                </a:cubicBezTo>
                <a:cubicBezTo>
                  <a:pt x="13563" y="3861"/>
                  <a:pt x="13457" y="4058"/>
                  <a:pt x="13351" y="4156"/>
                </a:cubicBezTo>
                <a:cubicBezTo>
                  <a:pt x="13244" y="4254"/>
                  <a:pt x="13096" y="4221"/>
                  <a:pt x="12947" y="4254"/>
                </a:cubicBezTo>
                <a:cubicBezTo>
                  <a:pt x="12777" y="4303"/>
                  <a:pt x="12585" y="4369"/>
                  <a:pt x="12394" y="4401"/>
                </a:cubicBezTo>
                <a:cubicBezTo>
                  <a:pt x="12139" y="4500"/>
                  <a:pt x="12054" y="4614"/>
                  <a:pt x="11862" y="4647"/>
                </a:cubicBezTo>
                <a:cubicBezTo>
                  <a:pt x="11650" y="4761"/>
                  <a:pt x="11671" y="4680"/>
                  <a:pt x="11437" y="4778"/>
                </a:cubicBezTo>
                <a:cubicBezTo>
                  <a:pt x="11352" y="4827"/>
                  <a:pt x="11225" y="4974"/>
                  <a:pt x="11246" y="5072"/>
                </a:cubicBezTo>
                <a:cubicBezTo>
                  <a:pt x="11225" y="5154"/>
                  <a:pt x="11267" y="5220"/>
                  <a:pt x="11310" y="5269"/>
                </a:cubicBezTo>
                <a:cubicBezTo>
                  <a:pt x="11352" y="5318"/>
                  <a:pt x="11480" y="5383"/>
                  <a:pt x="11565" y="5416"/>
                </a:cubicBezTo>
                <a:cubicBezTo>
                  <a:pt x="11629" y="5400"/>
                  <a:pt x="11820" y="5465"/>
                  <a:pt x="11862" y="5432"/>
                </a:cubicBezTo>
                <a:cubicBezTo>
                  <a:pt x="11905" y="5416"/>
                  <a:pt x="11926" y="5269"/>
                  <a:pt x="11884" y="5236"/>
                </a:cubicBezTo>
                <a:cubicBezTo>
                  <a:pt x="11841" y="5203"/>
                  <a:pt x="11629" y="5269"/>
                  <a:pt x="11565" y="5220"/>
                </a:cubicBezTo>
                <a:cubicBezTo>
                  <a:pt x="11480" y="5187"/>
                  <a:pt x="11459" y="5040"/>
                  <a:pt x="11480" y="4974"/>
                </a:cubicBezTo>
                <a:cubicBezTo>
                  <a:pt x="11501" y="4909"/>
                  <a:pt x="11607" y="4860"/>
                  <a:pt x="11692" y="4843"/>
                </a:cubicBezTo>
                <a:cubicBezTo>
                  <a:pt x="11905" y="4876"/>
                  <a:pt x="11820" y="4876"/>
                  <a:pt x="12054" y="4876"/>
                </a:cubicBezTo>
                <a:cubicBezTo>
                  <a:pt x="12075" y="5040"/>
                  <a:pt x="12096" y="5269"/>
                  <a:pt x="12139" y="5416"/>
                </a:cubicBezTo>
                <a:cubicBezTo>
                  <a:pt x="12160" y="5465"/>
                  <a:pt x="12330" y="5465"/>
                  <a:pt x="12373" y="5416"/>
                </a:cubicBezTo>
                <a:cubicBezTo>
                  <a:pt x="12415" y="5367"/>
                  <a:pt x="12330" y="4974"/>
                  <a:pt x="12394" y="4892"/>
                </a:cubicBezTo>
                <a:cubicBezTo>
                  <a:pt x="12458" y="4810"/>
                  <a:pt x="12692" y="4925"/>
                  <a:pt x="12755" y="4892"/>
                </a:cubicBezTo>
                <a:cubicBezTo>
                  <a:pt x="12798" y="4860"/>
                  <a:pt x="12840" y="4761"/>
                  <a:pt x="12755" y="4729"/>
                </a:cubicBezTo>
                <a:cubicBezTo>
                  <a:pt x="12670" y="4696"/>
                  <a:pt x="12118" y="4745"/>
                  <a:pt x="12203" y="4696"/>
                </a:cubicBezTo>
                <a:cubicBezTo>
                  <a:pt x="12543" y="4549"/>
                  <a:pt x="12819" y="4434"/>
                  <a:pt x="13266" y="4401"/>
                </a:cubicBezTo>
                <a:cubicBezTo>
                  <a:pt x="13436" y="4385"/>
                  <a:pt x="13585" y="4500"/>
                  <a:pt x="13776" y="4532"/>
                </a:cubicBezTo>
                <a:cubicBezTo>
                  <a:pt x="13967" y="4630"/>
                  <a:pt x="13861" y="4843"/>
                  <a:pt x="13712" y="4925"/>
                </a:cubicBezTo>
                <a:cubicBezTo>
                  <a:pt x="13648" y="5023"/>
                  <a:pt x="13521" y="5121"/>
                  <a:pt x="13414" y="5187"/>
                </a:cubicBezTo>
                <a:cubicBezTo>
                  <a:pt x="13351" y="5285"/>
                  <a:pt x="13287" y="5334"/>
                  <a:pt x="13159" y="5383"/>
                </a:cubicBezTo>
                <a:cubicBezTo>
                  <a:pt x="13117" y="5563"/>
                  <a:pt x="12862" y="5743"/>
                  <a:pt x="12649" y="5809"/>
                </a:cubicBezTo>
                <a:cubicBezTo>
                  <a:pt x="12543" y="5907"/>
                  <a:pt x="12437" y="5940"/>
                  <a:pt x="12309" y="6005"/>
                </a:cubicBezTo>
                <a:cubicBezTo>
                  <a:pt x="12245" y="6120"/>
                  <a:pt x="12139" y="6185"/>
                  <a:pt x="12075" y="6300"/>
                </a:cubicBezTo>
                <a:cubicBezTo>
                  <a:pt x="12118" y="6561"/>
                  <a:pt x="12075" y="6643"/>
                  <a:pt x="12373" y="6741"/>
                </a:cubicBezTo>
                <a:cubicBezTo>
                  <a:pt x="12500" y="6840"/>
                  <a:pt x="12522" y="6970"/>
                  <a:pt x="12330" y="7036"/>
                </a:cubicBezTo>
                <a:cubicBezTo>
                  <a:pt x="12011" y="6987"/>
                  <a:pt x="12033" y="6823"/>
                  <a:pt x="11799" y="6692"/>
                </a:cubicBezTo>
                <a:cubicBezTo>
                  <a:pt x="11714" y="6529"/>
                  <a:pt x="11459" y="6430"/>
                  <a:pt x="11246" y="6398"/>
                </a:cubicBezTo>
                <a:cubicBezTo>
                  <a:pt x="11076" y="6332"/>
                  <a:pt x="11182" y="6365"/>
                  <a:pt x="10906" y="6365"/>
                </a:cubicBezTo>
                <a:cubicBezTo>
                  <a:pt x="10608" y="6512"/>
                  <a:pt x="10544" y="7347"/>
                  <a:pt x="11246" y="7478"/>
                </a:cubicBezTo>
                <a:cubicBezTo>
                  <a:pt x="12394" y="7429"/>
                  <a:pt x="13329" y="7772"/>
                  <a:pt x="13733" y="7985"/>
                </a:cubicBezTo>
                <a:cubicBezTo>
                  <a:pt x="13840" y="8410"/>
                  <a:pt x="13329" y="8901"/>
                  <a:pt x="12500" y="9343"/>
                </a:cubicBezTo>
                <a:cubicBezTo>
                  <a:pt x="11629" y="9736"/>
                  <a:pt x="11480" y="10194"/>
                  <a:pt x="11246" y="10980"/>
                </a:cubicBezTo>
                <a:cubicBezTo>
                  <a:pt x="10991" y="11372"/>
                  <a:pt x="10481" y="10930"/>
                  <a:pt x="10289" y="10096"/>
                </a:cubicBezTo>
                <a:cubicBezTo>
                  <a:pt x="10140" y="9196"/>
                  <a:pt x="9907" y="8165"/>
                  <a:pt x="10459" y="7576"/>
                </a:cubicBezTo>
                <a:cubicBezTo>
                  <a:pt x="9375" y="6790"/>
                  <a:pt x="9269" y="6070"/>
                  <a:pt x="9056" y="6218"/>
                </a:cubicBezTo>
                <a:cubicBezTo>
                  <a:pt x="9205" y="6987"/>
                  <a:pt x="8929" y="6660"/>
                  <a:pt x="8737" y="6021"/>
                </a:cubicBezTo>
                <a:cubicBezTo>
                  <a:pt x="8822" y="5023"/>
                  <a:pt x="8610" y="4385"/>
                  <a:pt x="8440" y="3550"/>
                </a:cubicBezTo>
                <a:lnTo>
                  <a:pt x="7844" y="2290"/>
                </a:lnTo>
                <a:lnTo>
                  <a:pt x="6654" y="1849"/>
                </a:lnTo>
              </a:path>
            </a:pathLst>
          </a:custGeom>
          <a:solidFill>
            <a:schemeClr val="bg2">
              <a:lumMod val="95000"/>
            </a:schemeClr>
          </a:solidFill>
          <a:ln>
            <a:solidFill>
              <a:srgbClr val="003F56"/>
            </a:solidFill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en-US" altLang="zh-CN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Web</a:t>
            </a:r>
            <a:endParaRPr lang="zh-CN" altLang="en-US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95239" name="Infopage"/>
          <p:cNvSpPr>
            <a:spLocks noEditPoints="1" noChangeArrowheads="1"/>
          </p:cNvSpPr>
          <p:nvPr/>
        </p:nvSpPr>
        <p:spPr bwMode="auto">
          <a:xfrm>
            <a:off x="8013700" y="2432050"/>
            <a:ext cx="754063" cy="947738"/>
          </a:xfrm>
          <a:custGeom>
            <a:avLst/>
            <a:gdLst>
              <a:gd name="T0" fmla="*/ 10757 w 21600"/>
              <a:gd name="T1" fmla="*/ 21632 h 21600"/>
              <a:gd name="T2" fmla="*/ 85 w 21600"/>
              <a:gd name="T3" fmla="*/ 10849 h 21600"/>
              <a:gd name="T4" fmla="*/ 10757 w 21600"/>
              <a:gd name="T5" fmla="*/ 81 h 21600"/>
              <a:gd name="T6" fmla="*/ 21706 w 21600"/>
              <a:gd name="T7" fmla="*/ 10652 h 21600"/>
              <a:gd name="T8" fmla="*/ 10757 w 21600"/>
              <a:gd name="T9" fmla="*/ 21632 h 21600"/>
              <a:gd name="T10" fmla="*/ 0 w 21600"/>
              <a:gd name="T11" fmla="*/ 0 h 21600"/>
              <a:gd name="T12" fmla="*/ 21600 w 21600"/>
              <a:gd name="T13" fmla="*/ 0 h 21600"/>
              <a:gd name="T14" fmla="*/ 21600 w 21600"/>
              <a:gd name="T15" fmla="*/ 21600 h 21600"/>
              <a:gd name="T16" fmla="*/ 999 w 21600"/>
              <a:gd name="T17" fmla="*/ 12174 h 21600"/>
              <a:gd name="T18" fmla="*/ 20813 w 21600"/>
              <a:gd name="T19" fmla="*/ 17149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 extrusionOk="0">
                <a:moveTo>
                  <a:pt x="10757" y="21632"/>
                </a:moveTo>
                <a:lnTo>
                  <a:pt x="5187" y="21632"/>
                </a:lnTo>
                <a:lnTo>
                  <a:pt x="85" y="17509"/>
                </a:lnTo>
                <a:lnTo>
                  <a:pt x="85" y="10849"/>
                </a:lnTo>
                <a:lnTo>
                  <a:pt x="85" y="81"/>
                </a:lnTo>
                <a:lnTo>
                  <a:pt x="10757" y="81"/>
                </a:lnTo>
                <a:lnTo>
                  <a:pt x="21706" y="81"/>
                </a:lnTo>
                <a:lnTo>
                  <a:pt x="21706" y="10652"/>
                </a:lnTo>
                <a:lnTo>
                  <a:pt x="21706" y="21632"/>
                </a:lnTo>
                <a:lnTo>
                  <a:pt x="10757" y="21632"/>
                </a:lnTo>
                <a:close/>
              </a:path>
              <a:path w="21600" h="21600" extrusionOk="0">
                <a:moveTo>
                  <a:pt x="85" y="17509"/>
                </a:moveTo>
                <a:lnTo>
                  <a:pt x="5187" y="17509"/>
                </a:lnTo>
                <a:lnTo>
                  <a:pt x="5187" y="21632"/>
                </a:lnTo>
                <a:lnTo>
                  <a:pt x="85" y="17509"/>
                </a:lnTo>
                <a:close/>
              </a:path>
              <a:path w="21600" h="21600" extrusionOk="0">
                <a:moveTo>
                  <a:pt x="8333" y="4025"/>
                </a:moveTo>
                <a:lnTo>
                  <a:pt x="12500" y="4025"/>
                </a:lnTo>
                <a:lnTo>
                  <a:pt x="12500" y="11094"/>
                </a:lnTo>
                <a:lnTo>
                  <a:pt x="13903" y="11094"/>
                </a:lnTo>
                <a:lnTo>
                  <a:pt x="13903" y="11618"/>
                </a:lnTo>
                <a:lnTo>
                  <a:pt x="7908" y="11618"/>
                </a:lnTo>
                <a:lnTo>
                  <a:pt x="7908" y="11078"/>
                </a:lnTo>
                <a:lnTo>
                  <a:pt x="9418" y="11078"/>
                </a:lnTo>
                <a:lnTo>
                  <a:pt x="9418" y="4549"/>
                </a:lnTo>
                <a:lnTo>
                  <a:pt x="8333" y="4549"/>
                </a:lnTo>
                <a:lnTo>
                  <a:pt x="8333" y="4025"/>
                </a:lnTo>
                <a:close/>
              </a:path>
              <a:path w="21600" h="21600" extrusionOk="0">
                <a:moveTo>
                  <a:pt x="9120" y="2127"/>
                </a:moveTo>
                <a:lnTo>
                  <a:pt x="9120" y="1783"/>
                </a:lnTo>
                <a:lnTo>
                  <a:pt x="9269" y="1538"/>
                </a:lnTo>
                <a:lnTo>
                  <a:pt x="9588" y="1194"/>
                </a:lnTo>
                <a:lnTo>
                  <a:pt x="10013" y="998"/>
                </a:lnTo>
                <a:lnTo>
                  <a:pt x="10396" y="850"/>
                </a:lnTo>
                <a:lnTo>
                  <a:pt x="10906" y="801"/>
                </a:lnTo>
                <a:lnTo>
                  <a:pt x="11480" y="900"/>
                </a:lnTo>
                <a:lnTo>
                  <a:pt x="11926" y="1047"/>
                </a:lnTo>
                <a:lnTo>
                  <a:pt x="12266" y="1292"/>
                </a:lnTo>
                <a:lnTo>
                  <a:pt x="12500" y="1587"/>
                </a:lnTo>
                <a:lnTo>
                  <a:pt x="12649" y="1832"/>
                </a:lnTo>
                <a:lnTo>
                  <a:pt x="12692" y="2143"/>
                </a:lnTo>
                <a:lnTo>
                  <a:pt x="12649" y="2421"/>
                </a:lnTo>
                <a:lnTo>
                  <a:pt x="12500" y="2781"/>
                </a:lnTo>
                <a:lnTo>
                  <a:pt x="12330" y="3060"/>
                </a:lnTo>
                <a:lnTo>
                  <a:pt x="11884" y="3305"/>
                </a:lnTo>
                <a:lnTo>
                  <a:pt x="11501" y="3452"/>
                </a:lnTo>
                <a:lnTo>
                  <a:pt x="10863" y="3550"/>
                </a:lnTo>
                <a:lnTo>
                  <a:pt x="10396" y="3518"/>
                </a:lnTo>
                <a:lnTo>
                  <a:pt x="9949" y="3321"/>
                </a:lnTo>
                <a:lnTo>
                  <a:pt x="9524" y="3125"/>
                </a:lnTo>
                <a:lnTo>
                  <a:pt x="9311" y="2765"/>
                </a:lnTo>
                <a:lnTo>
                  <a:pt x="9184" y="2438"/>
                </a:lnTo>
                <a:lnTo>
                  <a:pt x="9120" y="2127"/>
                </a:lnTo>
                <a:close/>
              </a:path>
            </a:pathLst>
          </a:custGeom>
          <a:ln>
            <a:headEnd/>
            <a:tailEnd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en-US" altLang="zh-CN" dirty="0"/>
              <a:t>Power</a:t>
            </a:r>
            <a:endParaRPr lang="zh-CN" altLang="en-US" dirty="0"/>
          </a:p>
        </p:txBody>
      </p:sp>
      <p:sp>
        <p:nvSpPr>
          <p:cNvPr id="74" name="圆角矩形 73"/>
          <p:cNvSpPr/>
          <p:nvPr/>
        </p:nvSpPr>
        <p:spPr>
          <a:xfrm>
            <a:off x="5154613" y="1174568"/>
            <a:ext cx="1516423" cy="641781"/>
          </a:xfrm>
          <a:prstGeom prst="roundRect">
            <a:avLst/>
          </a:prstGeom>
          <a:ln/>
          <a:effectLst>
            <a:glow rad="63500">
              <a:schemeClr val="accent2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0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页面权限</a:t>
            </a:r>
          </a:p>
        </p:txBody>
      </p:sp>
      <p:cxnSp>
        <p:nvCxnSpPr>
          <p:cNvPr id="95242" name="直接箭头连接符 95241"/>
          <p:cNvCxnSpPr>
            <a:endCxn id="74" idx="1"/>
          </p:cNvCxnSpPr>
          <p:nvPr/>
        </p:nvCxnSpPr>
        <p:spPr>
          <a:xfrm flipV="1">
            <a:off x="1576339" y="1495459"/>
            <a:ext cx="3578274" cy="1723721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77" name="直接箭头连接符 76"/>
          <p:cNvCxnSpPr>
            <a:stCxn id="74" idx="3"/>
            <a:endCxn id="2" idx="9"/>
          </p:cNvCxnSpPr>
          <p:nvPr/>
        </p:nvCxnSpPr>
        <p:spPr>
          <a:xfrm>
            <a:off x="6671036" y="-981075"/>
            <a:ext cx="1419720" cy="0"/>
          </a:xfrm>
          <a:prstGeom prst="straightConnector1">
            <a:avLst/>
          </a:prstGeom>
          <a:ln w="57150">
            <a:prstDash val="sysDot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80" name="直接箭头连接符 79"/>
          <p:cNvCxnSpPr>
            <a:stCxn id="2" idx="1"/>
          </p:cNvCxnSpPr>
          <p:nvPr/>
        </p:nvCxnSpPr>
        <p:spPr>
          <a:xfrm flipH="1">
            <a:off x="1806222" y="1776514"/>
            <a:ext cx="6284534" cy="1442666"/>
          </a:xfrm>
          <a:prstGeom prst="straightConnector1">
            <a:avLst/>
          </a:prstGeom>
          <a:ln w="57150">
            <a:prstDash val="sysDot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85" name="直接箭头连接符 84"/>
          <p:cNvCxnSpPr>
            <a:endCxn id="95239" idx="1"/>
          </p:cNvCxnSpPr>
          <p:nvPr/>
        </p:nvCxnSpPr>
        <p:spPr>
          <a:xfrm flipV="1">
            <a:off x="1682542" y="2908069"/>
            <a:ext cx="6334125" cy="622222"/>
          </a:xfrm>
          <a:prstGeom prst="straightConnector1">
            <a:avLst/>
          </a:prstGeom>
          <a:ln w="57150">
            <a:prstDash val="sysDot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96" name="直接箭头连接符 95"/>
          <p:cNvCxnSpPr>
            <a:stCxn id="95239" idx="1"/>
            <a:endCxn id="100" idx="3"/>
          </p:cNvCxnSpPr>
          <p:nvPr/>
        </p:nvCxnSpPr>
        <p:spPr>
          <a:xfrm flipH="1">
            <a:off x="4238109" y="2908069"/>
            <a:ext cx="3778558" cy="1515608"/>
          </a:xfrm>
          <a:prstGeom prst="straightConnector1">
            <a:avLst/>
          </a:prstGeom>
          <a:ln w="57150">
            <a:prstDash val="sysDot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00" name="圆角矩形 99"/>
          <p:cNvSpPr/>
          <p:nvPr/>
        </p:nvSpPr>
        <p:spPr>
          <a:xfrm>
            <a:off x="2721686" y="4102786"/>
            <a:ext cx="1516423" cy="641781"/>
          </a:xfrm>
          <a:prstGeom prst="roundRect">
            <a:avLst/>
          </a:prstGeom>
          <a:ln/>
          <a:effectLst>
            <a:glow rad="63500">
              <a:schemeClr val="accent2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0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按钮权限</a:t>
            </a:r>
          </a:p>
        </p:txBody>
      </p:sp>
      <p:cxnSp>
        <p:nvCxnSpPr>
          <p:cNvPr id="126" name="直接箭头连接符 125"/>
          <p:cNvCxnSpPr>
            <a:stCxn id="100" idx="1"/>
          </p:cNvCxnSpPr>
          <p:nvPr/>
        </p:nvCxnSpPr>
        <p:spPr>
          <a:xfrm flipH="1" flipV="1">
            <a:off x="1806222" y="3658107"/>
            <a:ext cx="915464" cy="765570"/>
          </a:xfrm>
          <a:prstGeom prst="straightConnector1">
            <a:avLst/>
          </a:prstGeom>
          <a:ln w="57150">
            <a:prstDash val="sysDot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32784" name="Picture 5" descr="D:\Program Files (x86)\Microsoft Office\MEDIA\CAGCAT10\j0195384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601663" y="3168650"/>
            <a:ext cx="1081087" cy="1103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直接箭头连接符 15"/>
          <p:cNvCxnSpPr/>
          <p:nvPr/>
        </p:nvCxnSpPr>
        <p:spPr>
          <a:xfrm>
            <a:off x="6671036" y="1454553"/>
            <a:ext cx="1419720" cy="0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业务功能</a:t>
            </a:r>
            <a:r>
              <a:rPr lang="en-US" altLang="zh-CN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—</a:t>
            </a: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权限控制</a:t>
            </a:r>
            <a:endParaRPr lang="en-US" altLang="zh-CN" sz="2000" b="1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  <p:graphicFrame>
        <p:nvGraphicFramePr>
          <p:cNvPr id="16" name="图示 15"/>
          <p:cNvGraphicFramePr/>
          <p:nvPr>
            <p:extLst>
              <p:ext uri="{D42A27DB-BD31-4B8C-83A1-F6EECF244321}">
                <p14:modId xmlns:p14="http://schemas.microsoft.com/office/powerpoint/2010/main" xmlns="" val="280328843"/>
              </p:ext>
            </p:extLst>
          </p:nvPr>
        </p:nvGraphicFramePr>
        <p:xfrm>
          <a:off x="269771" y="749258"/>
          <a:ext cx="4461255" cy="51479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0" name="图示 9"/>
          <p:cNvGraphicFramePr/>
          <p:nvPr/>
        </p:nvGraphicFramePr>
        <p:xfrm>
          <a:off x="5247378" y="1430038"/>
          <a:ext cx="4108657" cy="16721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30" name="图示 29"/>
          <p:cNvGraphicFramePr/>
          <p:nvPr/>
        </p:nvGraphicFramePr>
        <p:xfrm>
          <a:off x="5154613" y="3795552"/>
          <a:ext cx="4214674" cy="16721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1"/>
          </p:nvPr>
        </p:nvSpPr>
        <p:spPr>
          <a:xfrm>
            <a:off x="976313" y="712788"/>
            <a:ext cx="6891337" cy="342900"/>
          </a:xfrm>
        </p:spPr>
        <p:txBody>
          <a:bodyPr/>
          <a:lstStyle/>
          <a:p>
            <a:pPr marL="0" indent="0" eaLnBrk="1" hangingPunct="1">
              <a:defRPr/>
            </a:pPr>
            <a:r>
              <a:rPr lang="zh-CN" altLang="en-US"/>
              <a:t>技术架构主要方面</a:t>
            </a:r>
          </a:p>
        </p:txBody>
      </p:sp>
      <p:graphicFrame>
        <p:nvGraphicFramePr>
          <p:cNvPr id="2" name="图示 1"/>
          <p:cNvGraphicFramePr/>
          <p:nvPr/>
        </p:nvGraphicFramePr>
        <p:xfrm>
          <a:off x="1955800" y="1746739"/>
          <a:ext cx="5289062" cy="2476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技术架构图</a:t>
            </a:r>
            <a:r>
              <a:rPr lang="en-US" altLang="zh-CN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—</a:t>
            </a: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树显示</a:t>
            </a:r>
            <a:endParaRPr lang="en-US" altLang="zh-CN" sz="2000" b="1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  <p:pic>
        <p:nvPicPr>
          <p:cNvPr id="36867" name="Picture 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72050" y="663575"/>
            <a:ext cx="4600575" cy="3067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868" name="Picture 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713" y="766763"/>
            <a:ext cx="4019550" cy="269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9" name="直接箭头连接符 8"/>
          <p:cNvCxnSpPr/>
          <p:nvPr/>
        </p:nvCxnSpPr>
        <p:spPr>
          <a:xfrm>
            <a:off x="2438400" y="1134845"/>
            <a:ext cx="3154103" cy="0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3" name="直接箭头连接符 12"/>
          <p:cNvCxnSpPr/>
          <p:nvPr/>
        </p:nvCxnSpPr>
        <p:spPr>
          <a:xfrm flipV="1">
            <a:off x="2438400" y="1445253"/>
            <a:ext cx="3260120" cy="1603512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2" name="圆角矩形 11"/>
          <p:cNvSpPr/>
          <p:nvPr/>
        </p:nvSpPr>
        <p:spPr>
          <a:xfrm>
            <a:off x="333651" y="4041153"/>
            <a:ext cx="8850105" cy="1962081"/>
          </a:xfrm>
          <a:prstGeom prst="roundRect">
            <a:avLst>
              <a:gd name="adj" fmla="val 7791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</a:t>
            </a:r>
            <a:r>
              <a:rPr lang="en-US" altLang="zh-CN" sz="24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var</a:t>
            </a: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</a:t>
            </a:r>
            <a:r>
              <a:rPr lang="en-US" altLang="zh-CN" sz="24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retVal</a:t>
            </a: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=</a:t>
            </a:r>
            <a:r>
              <a:rPr lang="en-US" altLang="zh-CN" sz="24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dbr.Menu.LoadFlexiTreeGrid</a:t>
            </a: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</a:t>
            </a:r>
          </a:p>
          <a:p>
            <a:pPr>
              <a:defRPr/>
            </a:pP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data, count, </a:t>
            </a:r>
            <a:r>
              <a:rPr lang="en-US" altLang="zh-CN" sz="24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dbr.Menu.Id.Name</a:t>
            </a: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, </a:t>
            </a:r>
            <a:r>
              <a:rPr lang="en-US" altLang="zh-CN" sz="24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dbr.Menu.Pid.Name</a:t>
            </a:r>
            <a:endParaRPr lang="en-US" altLang="zh-CN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  <a:p>
            <a:pPr>
              <a:defRPr/>
            </a:pP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);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1200" y="1217613"/>
            <a:ext cx="3924300" cy="363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891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技术架构图</a:t>
            </a:r>
            <a:r>
              <a:rPr lang="en-US" altLang="zh-CN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—</a:t>
            </a: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异步加载树</a:t>
            </a:r>
            <a:endParaRPr lang="en-US" altLang="zh-CN" sz="2000" b="1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  <p:sp>
        <p:nvSpPr>
          <p:cNvPr id="37892" name="Rectangle 14"/>
          <p:cNvSpPr>
            <a:spLocks noChangeArrowheads="1"/>
          </p:cNvSpPr>
          <p:nvPr/>
        </p:nvSpPr>
        <p:spPr bwMode="auto">
          <a:xfrm>
            <a:off x="1600200" y="4670425"/>
            <a:ext cx="963613" cy="3587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</a:pPr>
            <a:endParaRPr lang="en-US" altLang="zh-CN" sz="1600" b="1">
              <a:ea typeface="华文楷体" pitchFamily="2" charset="-122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6147973" y="2138189"/>
            <a:ext cx="2704479" cy="631515"/>
          </a:xfrm>
          <a:prstGeom prst="roundRect">
            <a:avLst>
              <a:gd name="adj" fmla="val 7791"/>
            </a:avLst>
          </a:prstGeom>
          <a:solidFill>
            <a:schemeClr val="accent4">
              <a:lumMod val="75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±</a:t>
            </a:r>
            <a:r>
              <a:rPr lang="zh-CN" altLang="en-US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内容回发加载</a:t>
            </a:r>
            <a:endParaRPr lang="en-US" altLang="zh-CN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cxnSp>
        <p:nvCxnSpPr>
          <p:cNvPr id="6" name="直接箭头连接符 5"/>
          <p:cNvCxnSpPr/>
          <p:nvPr/>
        </p:nvCxnSpPr>
        <p:spPr>
          <a:xfrm flipV="1">
            <a:off x="1219200" y="2556012"/>
            <a:ext cx="4928772" cy="1591919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9" name="直接箭头连接符 18"/>
          <p:cNvCxnSpPr>
            <a:endCxn id="20" idx="1"/>
          </p:cNvCxnSpPr>
          <p:nvPr/>
        </p:nvCxnSpPr>
        <p:spPr>
          <a:xfrm flipV="1">
            <a:off x="1815548" y="1108886"/>
            <a:ext cx="4332424" cy="1183740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0" name="圆角矩形 19"/>
          <p:cNvSpPr/>
          <p:nvPr/>
        </p:nvSpPr>
        <p:spPr>
          <a:xfrm>
            <a:off x="6147972" y="799789"/>
            <a:ext cx="2704480" cy="618194"/>
          </a:xfrm>
          <a:prstGeom prst="roundRect">
            <a:avLst>
              <a:gd name="adj" fmla="val 7791"/>
            </a:avLst>
          </a:prstGeom>
          <a:solidFill>
            <a:schemeClr val="accent4">
              <a:lumMod val="75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默认加载选中项</a:t>
            </a:r>
            <a:endParaRPr lang="en-US" altLang="zh-CN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31" name="圆角矩形 30"/>
          <p:cNvSpPr/>
          <p:nvPr/>
        </p:nvSpPr>
        <p:spPr>
          <a:xfrm>
            <a:off x="2673626" y="4147931"/>
            <a:ext cx="7075487" cy="2073759"/>
          </a:xfrm>
          <a:prstGeom prst="roundRect">
            <a:avLst>
              <a:gd name="adj" fmla="val 7791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altLang="zh-CN" sz="24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dbr.TCompany.LoadFlexiAjaxGrid</a:t>
            </a: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</a:t>
            </a:r>
          </a:p>
          <a:p>
            <a:pPr>
              <a:defRPr/>
            </a:pPr>
            <a:r>
              <a:rPr lang="en-US" altLang="zh-CN" sz="24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refData</a:t>
            </a: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, </a:t>
            </a:r>
            <a:r>
              <a:rPr lang="en-US" altLang="zh-CN" sz="24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refData.Count</a:t>
            </a: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, "Id", "</a:t>
            </a:r>
            <a:r>
              <a:rPr lang="en-US" altLang="zh-CN" sz="24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Pid</a:t>
            </a: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", </a:t>
            </a:r>
          </a:p>
          <a:p>
            <a:pPr>
              <a:defRPr/>
            </a:pP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o =&gt; </a:t>
            </a:r>
            <a:r>
              <a:rPr lang="en-US" altLang="zh-CN" sz="24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o.GetOrDefault</a:t>
            </a: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"</a:t>
            </a:r>
            <a:r>
              <a:rPr lang="en-US" altLang="zh-CN" sz="24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Cou</a:t>
            </a: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").</a:t>
            </a:r>
            <a:r>
              <a:rPr lang="en-US" altLang="zh-CN" sz="24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AsInt</a:t>
            </a: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) &gt; 0);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1"/>
          </p:nvPr>
        </p:nvSpPr>
        <p:spPr>
          <a:xfrm>
            <a:off x="976313" y="712788"/>
            <a:ext cx="6891337" cy="342900"/>
          </a:xfrm>
        </p:spPr>
        <p:txBody>
          <a:bodyPr/>
          <a:lstStyle/>
          <a:p>
            <a:pPr marL="0" indent="0" eaLnBrk="1" hangingPunct="1">
              <a:defRPr/>
            </a:pPr>
            <a:r>
              <a:rPr lang="zh-CN" altLang="en-US"/>
              <a:t>技术架构主要方面</a:t>
            </a:r>
          </a:p>
        </p:txBody>
      </p:sp>
      <p:graphicFrame>
        <p:nvGraphicFramePr>
          <p:cNvPr id="6" name="图示 5"/>
          <p:cNvGraphicFramePr/>
          <p:nvPr/>
        </p:nvGraphicFramePr>
        <p:xfrm>
          <a:off x="1771574" y="1979112"/>
          <a:ext cx="5361709" cy="29811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技术架构图</a:t>
            </a:r>
            <a:r>
              <a:rPr lang="en-US" altLang="zh-CN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—</a:t>
            </a: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数据分组</a:t>
            </a:r>
            <a:endParaRPr lang="en-US" altLang="zh-CN" sz="2000" b="1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  <p:sp>
        <p:nvSpPr>
          <p:cNvPr id="38915" name="Rectangle 14"/>
          <p:cNvSpPr>
            <a:spLocks noChangeArrowheads="1"/>
          </p:cNvSpPr>
          <p:nvPr/>
        </p:nvSpPr>
        <p:spPr bwMode="auto">
          <a:xfrm>
            <a:off x="1600200" y="4670425"/>
            <a:ext cx="963613" cy="3587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</a:pPr>
            <a:endParaRPr lang="en-US" altLang="zh-CN" sz="1600" b="1">
              <a:ea typeface="华文楷体" pitchFamily="2" charset="-122"/>
            </a:endParaRPr>
          </a:p>
        </p:txBody>
      </p:sp>
      <p:sp>
        <p:nvSpPr>
          <p:cNvPr id="38916" name="Rectangle 15"/>
          <p:cNvSpPr>
            <a:spLocks noChangeArrowheads="1"/>
          </p:cNvSpPr>
          <p:nvPr/>
        </p:nvSpPr>
        <p:spPr bwMode="auto">
          <a:xfrm>
            <a:off x="7366000" y="4670425"/>
            <a:ext cx="927100" cy="3714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</a:pPr>
            <a:endParaRPr lang="en-US" altLang="zh-CN" sz="1600" b="1">
              <a:ea typeface="华文楷体" pitchFamily="2" charset="-122"/>
            </a:endParaRPr>
          </a:p>
        </p:txBody>
      </p:sp>
      <p:pic>
        <p:nvPicPr>
          <p:cNvPr id="38917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4813" y="966788"/>
            <a:ext cx="9096375" cy="4924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圆角矩形 5"/>
          <p:cNvSpPr/>
          <p:nvPr/>
        </p:nvSpPr>
        <p:spPr>
          <a:xfrm>
            <a:off x="2425148" y="2478158"/>
            <a:ext cx="7323964" cy="3600622"/>
          </a:xfrm>
          <a:prstGeom prst="roundRect">
            <a:avLst>
              <a:gd name="adj" fmla="val 7791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role: { </a:t>
            </a:r>
          </a:p>
          <a:p>
            <a:pPr>
              <a:defRPr/>
            </a:pP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id: "Id", </a:t>
            </a:r>
          </a:p>
          <a:p>
            <a:pPr>
              <a:defRPr/>
            </a:pP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name: "</a:t>
            </a:r>
            <a:r>
              <a:rPr lang="en-US" altLang="zh-CN" sz="24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Descr</a:t>
            </a: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", </a:t>
            </a:r>
          </a:p>
          <a:p>
            <a:pPr>
              <a:defRPr/>
            </a:pP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group: "Area,Controller,PowerController.Descr,Action,PowerAction.Descr" </a:t>
            </a:r>
          </a:p>
          <a:p>
            <a:pPr>
              <a:defRPr/>
            </a:pP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},  </a:t>
            </a:r>
          </a:p>
        </p:txBody>
      </p:sp>
      <p:cxnSp>
        <p:nvCxnSpPr>
          <p:cNvPr id="7" name="直接箭头连接符 6"/>
          <p:cNvCxnSpPr/>
          <p:nvPr/>
        </p:nvCxnSpPr>
        <p:spPr>
          <a:xfrm>
            <a:off x="1828800" y="1417983"/>
            <a:ext cx="1167399" cy="3380270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9" name="直接箭头连接符 8"/>
          <p:cNvCxnSpPr/>
          <p:nvPr/>
        </p:nvCxnSpPr>
        <p:spPr>
          <a:xfrm>
            <a:off x="2563813" y="1417983"/>
            <a:ext cx="1358830" cy="3252442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1" name="直接箭头连接符 10"/>
          <p:cNvCxnSpPr/>
          <p:nvPr/>
        </p:nvCxnSpPr>
        <p:spPr>
          <a:xfrm>
            <a:off x="4101065" y="1417983"/>
            <a:ext cx="2935839" cy="3252442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3" name="直接箭头连接符 12"/>
          <p:cNvCxnSpPr/>
          <p:nvPr/>
        </p:nvCxnSpPr>
        <p:spPr>
          <a:xfrm>
            <a:off x="5154613" y="1417983"/>
            <a:ext cx="3909874" cy="3252442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5" name="直接箭头连接符 14"/>
          <p:cNvCxnSpPr/>
          <p:nvPr/>
        </p:nvCxnSpPr>
        <p:spPr>
          <a:xfrm flipH="1">
            <a:off x="4412974" y="1417983"/>
            <a:ext cx="1948069" cy="3776869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技术架构图</a:t>
            </a:r>
            <a:r>
              <a:rPr lang="en-US" altLang="zh-CN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—</a:t>
            </a: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日志</a:t>
            </a:r>
            <a:endParaRPr lang="en-US" altLang="zh-CN" sz="2000" b="1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  <p:sp>
        <p:nvSpPr>
          <p:cNvPr id="39939" name="Rectangle 14"/>
          <p:cNvSpPr>
            <a:spLocks noChangeArrowheads="1"/>
          </p:cNvSpPr>
          <p:nvPr/>
        </p:nvSpPr>
        <p:spPr bwMode="auto">
          <a:xfrm>
            <a:off x="1600200" y="4670425"/>
            <a:ext cx="963613" cy="3587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</a:pPr>
            <a:endParaRPr lang="en-US" altLang="zh-CN" sz="1600" b="1">
              <a:ea typeface="华文楷体" pitchFamily="2" charset="-122"/>
            </a:endParaRPr>
          </a:p>
        </p:txBody>
      </p:sp>
      <p:pic>
        <p:nvPicPr>
          <p:cNvPr id="39940" name="Picture 5" descr="D:\Program Files (x86)\Microsoft Office\MEDIA\CAGCAT10\j0195384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377825" y="2506663"/>
            <a:ext cx="1081088" cy="1103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直接箭头连接符 5"/>
          <p:cNvCxnSpPr/>
          <p:nvPr/>
        </p:nvCxnSpPr>
        <p:spPr>
          <a:xfrm flipV="1">
            <a:off x="1458640" y="3057643"/>
            <a:ext cx="1384573" cy="1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39942" name="Picture 9" descr="C:\Users\Administrator\AppData\Local\Microsoft\Windows\Temporary Internet Files\Content.IE5\61B1ZNV9\MC900428971[1]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43213" y="2174875"/>
            <a:ext cx="1208087" cy="176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8" name="直接箭头连接符 17"/>
          <p:cNvCxnSpPr/>
          <p:nvPr/>
        </p:nvCxnSpPr>
        <p:spPr>
          <a:xfrm flipV="1">
            <a:off x="4051300" y="1648846"/>
            <a:ext cx="2511022" cy="1408797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29" name="直接箭头连接符 28"/>
          <p:cNvCxnSpPr/>
          <p:nvPr/>
        </p:nvCxnSpPr>
        <p:spPr>
          <a:xfrm>
            <a:off x="4051300" y="3057643"/>
            <a:ext cx="2728649" cy="1084589"/>
          </a:xfrm>
          <a:prstGeom prst="straightConnector1">
            <a:avLst/>
          </a:prstGeom>
          <a:ln w="57150">
            <a:prstDash val="sysDash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pSp>
        <p:nvGrpSpPr>
          <p:cNvPr id="39945" name="组合 27"/>
          <p:cNvGrpSpPr>
            <a:grpSpLocks/>
          </p:cNvGrpSpPr>
          <p:nvPr/>
        </p:nvGrpSpPr>
        <p:grpSpPr bwMode="auto">
          <a:xfrm>
            <a:off x="6780213" y="3255963"/>
            <a:ext cx="1279525" cy="2155825"/>
            <a:chOff x="6779949" y="3255264"/>
            <a:chExt cx="1279246" cy="2155980"/>
          </a:xfrm>
        </p:grpSpPr>
        <p:pic>
          <p:nvPicPr>
            <p:cNvPr id="39950" name="Picture 11" descr="C:\Users\Administrator\AppData\Local\Microsoft\Windows\Temporary Internet Files\Content.IE5\52TC0AU3\MC900428969[1].wmf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79949" y="3255264"/>
              <a:ext cx="1279246" cy="17739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矩形 26"/>
            <p:cNvSpPr/>
            <p:nvPr/>
          </p:nvSpPr>
          <p:spPr>
            <a:xfrm>
              <a:off x="6779949" y="5123145"/>
              <a:ext cx="1161552" cy="288099"/>
            </a:xfrm>
            <a:prstGeom prst="rect">
              <a:avLst/>
            </a:prstGeom>
            <a:noFill/>
            <a:ln w="0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flat" dir="t">
                  <a:rot lat="0" lon="0" rev="18900000"/>
                </a:lightRig>
              </a:scene3d>
              <a:sp3d extrusionH="31750" contourW="6350" prstMaterial="powder">
                <a:bevelT w="19050" h="19050" prst="angle"/>
                <a:contourClr>
                  <a:schemeClr val="accent3">
                    <a:tint val="100000"/>
                    <a:shade val="100000"/>
                    <a:satMod val="100000"/>
                    <a:hueMod val="100000"/>
                  </a:schemeClr>
                </a:contourClr>
              </a:sp3d>
            </a:bodyPr>
            <a:lstStyle/>
            <a:p>
              <a:pPr algn="ctr">
                <a:defRPr/>
              </a:pPr>
              <a:r>
                <a:rPr lang="zh-CN" altLang="en-US" sz="1600" b="1" dirty="0">
                  <a:ln/>
                  <a:solidFill>
                    <a:schemeClr val="accent3"/>
                  </a:solidFill>
                  <a:cs typeface="Arial" pitchFamily="34" charset="0"/>
                </a:rPr>
                <a:t>日志数据库</a:t>
              </a:r>
            </a:p>
          </p:txBody>
        </p:sp>
      </p:grpSp>
      <p:grpSp>
        <p:nvGrpSpPr>
          <p:cNvPr id="39946" name="组合 29"/>
          <p:cNvGrpSpPr>
            <a:grpSpLocks/>
          </p:cNvGrpSpPr>
          <p:nvPr/>
        </p:nvGrpSpPr>
        <p:grpSpPr bwMode="auto">
          <a:xfrm>
            <a:off x="6562725" y="792163"/>
            <a:ext cx="1714500" cy="2001837"/>
            <a:chOff x="6562322" y="791596"/>
            <a:chExt cx="1714500" cy="2002599"/>
          </a:xfrm>
        </p:grpSpPr>
        <p:pic>
          <p:nvPicPr>
            <p:cNvPr id="39948" name="Picture 8" descr="C:\Users\Administrator\AppData\Local\Microsoft\Windows\Temporary Internet Files\Content.IE5\52TC0AU3\MC900434845[1]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62322" y="791596"/>
              <a:ext cx="1714500" cy="1714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" name="矩形 41"/>
            <p:cNvSpPr/>
            <p:nvPr/>
          </p:nvSpPr>
          <p:spPr>
            <a:xfrm>
              <a:off x="6779949" y="2506096"/>
              <a:ext cx="1161552" cy="288099"/>
            </a:xfrm>
            <a:prstGeom prst="rect">
              <a:avLst/>
            </a:prstGeom>
            <a:noFill/>
            <a:ln w="0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scene3d>
                <a:camera prst="orthographicFront"/>
                <a:lightRig rig="flat" dir="t">
                  <a:rot lat="0" lon="0" rev="18900000"/>
                </a:lightRig>
              </a:scene3d>
              <a:sp3d extrusionH="31750" contourW="6350" prstMaterial="powder">
                <a:bevelT w="19050" h="19050" prst="angle"/>
                <a:contourClr>
                  <a:schemeClr val="accent3">
                    <a:tint val="100000"/>
                    <a:shade val="100000"/>
                    <a:satMod val="100000"/>
                    <a:hueMod val="100000"/>
                  </a:schemeClr>
                </a:contourClr>
              </a:sp3d>
            </a:bodyPr>
            <a:lstStyle/>
            <a:p>
              <a:pPr algn="ctr">
                <a:defRPr/>
              </a:pPr>
              <a:r>
                <a:rPr lang="zh-CN" altLang="en-US" sz="1600" b="1" dirty="0">
                  <a:ln/>
                  <a:solidFill>
                    <a:schemeClr val="accent3"/>
                  </a:solidFill>
                  <a:cs typeface="Arial" pitchFamily="34" charset="0"/>
                </a:rPr>
                <a:t>业务数据库</a:t>
              </a:r>
            </a:p>
          </p:txBody>
        </p:sp>
      </p:grpSp>
      <p:sp>
        <p:nvSpPr>
          <p:cNvPr id="44" name="矩形 43"/>
          <p:cNvSpPr/>
          <p:nvPr/>
        </p:nvSpPr>
        <p:spPr>
          <a:xfrm>
            <a:off x="3878312" y="3747377"/>
            <a:ext cx="2267211" cy="615365"/>
          </a:xfrm>
          <a:prstGeom prst="rect">
            <a:avLst/>
          </a:prstGeom>
          <a:noFill/>
          <a:ln w="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0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自动拦截</a:t>
            </a:r>
            <a:endParaRPr lang="en-US" altLang="zh-CN" sz="20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algn="ctr">
              <a:defRPr/>
            </a:pPr>
            <a:r>
              <a:rPr lang="zh-CN" altLang="en-US" sz="20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异步处理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圆角矩形 17"/>
          <p:cNvSpPr/>
          <p:nvPr/>
        </p:nvSpPr>
        <p:spPr>
          <a:xfrm>
            <a:off x="3230563" y="1389063"/>
            <a:ext cx="4648308" cy="4333875"/>
          </a:xfrm>
          <a:prstGeom prst="roundRect">
            <a:avLst>
              <a:gd name="adj" fmla="val 3606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zh-CN" alt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40963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技术架构图</a:t>
            </a:r>
            <a:r>
              <a:rPr lang="en-US" altLang="zh-CN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—</a:t>
            </a: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服务器端并发控制</a:t>
            </a:r>
            <a:endParaRPr lang="en-US" altLang="zh-CN" sz="2000" b="1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  <p:sp>
        <p:nvSpPr>
          <p:cNvPr id="40964" name="Rectangle 14"/>
          <p:cNvSpPr>
            <a:spLocks noChangeArrowheads="1"/>
          </p:cNvSpPr>
          <p:nvPr/>
        </p:nvSpPr>
        <p:spPr bwMode="auto">
          <a:xfrm>
            <a:off x="1987550" y="4670425"/>
            <a:ext cx="963613" cy="3587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</a:pPr>
            <a:endParaRPr lang="en-US" altLang="zh-CN" sz="1600" b="1">
              <a:ea typeface="华文楷体" pitchFamily="2" charset="-122"/>
            </a:endParaRPr>
          </a:p>
        </p:txBody>
      </p:sp>
      <p:pic>
        <p:nvPicPr>
          <p:cNvPr id="40965" name="Picture 5" descr="D:\Program Files (x86)\Microsoft Office\MEDIA\CAGCAT10\j0195384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773113" y="1955800"/>
            <a:ext cx="1081087" cy="1103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66" name="Picture 5" descr="D:\Program Files (x86)\Microsoft Office\MEDIA\CAGCAT10\j0195384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765175" y="3925888"/>
            <a:ext cx="1081088" cy="1103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直接箭头连接符 6"/>
          <p:cNvCxnSpPr>
            <a:endCxn id="23" idx="5"/>
          </p:cNvCxnSpPr>
          <p:nvPr/>
        </p:nvCxnSpPr>
        <p:spPr>
          <a:xfrm flipV="1">
            <a:off x="1854777" y="2129295"/>
            <a:ext cx="2071324" cy="378162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0" name="直接箭头连接符 9"/>
          <p:cNvCxnSpPr/>
          <p:nvPr/>
        </p:nvCxnSpPr>
        <p:spPr>
          <a:xfrm flipV="1">
            <a:off x="1846840" y="2211165"/>
            <a:ext cx="2005189" cy="2266378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3" name="平行四边形 12"/>
          <p:cNvSpPr/>
          <p:nvPr/>
        </p:nvSpPr>
        <p:spPr>
          <a:xfrm>
            <a:off x="3852028" y="3652921"/>
            <a:ext cx="3475697" cy="592583"/>
          </a:xfrm>
          <a:prstGeom prst="parallelogram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生成任务单号</a:t>
            </a:r>
          </a:p>
        </p:txBody>
      </p:sp>
      <p:sp>
        <p:nvSpPr>
          <p:cNvPr id="14" name="平行四边形 13"/>
          <p:cNvSpPr/>
          <p:nvPr/>
        </p:nvSpPr>
        <p:spPr>
          <a:xfrm>
            <a:off x="3852028" y="2761230"/>
            <a:ext cx="3475697" cy="592583"/>
          </a:xfrm>
          <a:prstGeom prst="parallelogram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使用者</a:t>
            </a:r>
            <a:r>
              <a:rPr lang="zh-CN" altLang="en-US" sz="24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加锁（</a:t>
            </a:r>
            <a:r>
              <a:rPr lang="en-US" altLang="zh-CN" sz="24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Lock</a:t>
            </a:r>
            <a:r>
              <a:rPr lang="zh-CN" altLang="en-US" sz="24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）</a:t>
            </a:r>
            <a:endParaRPr lang="en-US" altLang="zh-CN" sz="2400" b="1" spc="50" dirty="0" smtClean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17" name="平行四边形 16"/>
          <p:cNvSpPr/>
          <p:nvPr/>
        </p:nvSpPr>
        <p:spPr>
          <a:xfrm>
            <a:off x="3852028" y="4670424"/>
            <a:ext cx="3475697" cy="592583"/>
          </a:xfrm>
          <a:prstGeom prst="parallelogram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使用者解锁</a:t>
            </a:r>
          </a:p>
        </p:txBody>
      </p:sp>
      <p:sp>
        <p:nvSpPr>
          <p:cNvPr id="23" name="平行四边形 22"/>
          <p:cNvSpPr/>
          <p:nvPr/>
        </p:nvSpPr>
        <p:spPr>
          <a:xfrm>
            <a:off x="3852028" y="1833003"/>
            <a:ext cx="3475697" cy="592583"/>
          </a:xfrm>
          <a:prstGeom prst="parallelogram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等待解锁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圆角矩形 12"/>
          <p:cNvSpPr/>
          <p:nvPr/>
        </p:nvSpPr>
        <p:spPr>
          <a:xfrm>
            <a:off x="3468390" y="782342"/>
            <a:ext cx="6214489" cy="5424493"/>
          </a:xfrm>
          <a:prstGeom prst="roundRect">
            <a:avLst>
              <a:gd name="adj" fmla="val 7298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b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华文新魏" pitchFamily="2" charset="-122"/>
                <a:ea typeface="华文新魏" pitchFamily="2" charset="-122"/>
                <a:cs typeface="Arial" pitchFamily="34" charset="0"/>
              </a:rPr>
              <a:t>服务器端</a:t>
            </a:r>
          </a:p>
        </p:txBody>
      </p:sp>
      <p:sp>
        <p:nvSpPr>
          <p:cNvPr id="43011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技术架构图</a:t>
            </a:r>
            <a:r>
              <a:rPr lang="en-US" altLang="zh-CN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—</a:t>
            </a: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批量数据推送</a:t>
            </a:r>
            <a:endParaRPr lang="en-US" altLang="zh-CN" sz="2000" b="1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  <p:sp>
        <p:nvSpPr>
          <p:cNvPr id="43012" name="Rectangle 14"/>
          <p:cNvSpPr>
            <a:spLocks noChangeArrowheads="1"/>
          </p:cNvSpPr>
          <p:nvPr/>
        </p:nvSpPr>
        <p:spPr bwMode="auto">
          <a:xfrm>
            <a:off x="1600200" y="4670425"/>
            <a:ext cx="963613" cy="3587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</a:pPr>
            <a:endParaRPr lang="en-US" altLang="zh-CN" sz="1600" b="1">
              <a:ea typeface="华文楷体" pitchFamily="2" charset="-122"/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413135619"/>
              </p:ext>
            </p:extLst>
          </p:nvPr>
        </p:nvGraphicFramePr>
        <p:xfrm>
          <a:off x="3939358" y="1058870"/>
          <a:ext cx="4916488" cy="1482724"/>
        </p:xfrm>
        <a:graphic>
          <a:graphicData uri="http://schemas.openxmlformats.org/drawingml/2006/table">
            <a:tbl>
              <a:tblPr firstRow="1" bandRow="1" bandCol="1">
                <a:tableStyleId>{5A111915-BE36-4E01-A7E5-04B1672EAD32}</a:tableStyleId>
              </a:tblPr>
              <a:tblGrid>
                <a:gridCol w="2458244"/>
                <a:gridCol w="2458244"/>
              </a:tblGrid>
              <a:tr h="370681"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合同类型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楼栋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</a:tr>
              <a:tr h="370681"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智能化工程合同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弗莱明戈二期</a:t>
                      </a:r>
                      <a:r>
                        <a:rPr lang="en-US" altLang="zh-CN" sz="1800" dirty="0" smtClean="0"/>
                        <a:t>1</a:t>
                      </a:r>
                      <a:r>
                        <a:rPr lang="zh-CN" altLang="en-US" sz="1800" dirty="0" smtClean="0"/>
                        <a:t>栋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</a:tr>
              <a:tr h="37068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dirty="0" smtClean="0"/>
                        <a:t>智能化工程合同</a:t>
                      </a:r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zh-CN" altLang="en-US" sz="1800" dirty="0" smtClean="0">
                          <a:solidFill>
                            <a:schemeClr val="bg1"/>
                          </a:solidFill>
                        </a:rPr>
                        <a:t>弗莱明戈二期</a:t>
                      </a:r>
                      <a:r>
                        <a:rPr lang="en-US" altLang="zh-CN" sz="1800" dirty="0" smtClean="0">
                          <a:solidFill>
                            <a:schemeClr val="bg1"/>
                          </a:solidFill>
                        </a:rPr>
                        <a:t>2</a:t>
                      </a:r>
                      <a:r>
                        <a:rPr lang="zh-CN" altLang="en-US" sz="1800" dirty="0" smtClean="0">
                          <a:solidFill>
                            <a:schemeClr val="bg1"/>
                          </a:solidFill>
                        </a:rPr>
                        <a:t>栋</a:t>
                      </a:r>
                      <a:endParaRPr lang="zh-CN" alt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 marL="91448" marR="91448" marT="45700" marB="45700"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37068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dirty="0" smtClean="0"/>
                        <a:t>智能化工程合同</a:t>
                      </a:r>
                    </a:p>
                  </a:txBody>
                  <a:tcPr marL="91448" marR="91448" marT="45700" marB="45700"/>
                </a:tc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弗莱明戈二期</a:t>
                      </a:r>
                      <a:r>
                        <a:rPr lang="en-US" altLang="zh-CN" sz="1800" dirty="0" smtClean="0"/>
                        <a:t>3</a:t>
                      </a:r>
                      <a:r>
                        <a:rPr lang="zh-CN" altLang="en-US" sz="1800" dirty="0" smtClean="0"/>
                        <a:t>栋</a:t>
                      </a:r>
                      <a:endParaRPr lang="zh-CN" altLang="en-US" sz="1800" dirty="0"/>
                    </a:p>
                  </a:txBody>
                  <a:tcPr marL="91448" marR="91448" marT="45700" marB="45700"/>
                </a:tc>
              </a:tr>
            </a:tbl>
          </a:graphicData>
        </a:graphic>
      </p:graphicFrame>
      <p:pic>
        <p:nvPicPr>
          <p:cNvPr id="43030" name="Picture 5" descr="D:\Program Files (x86)\Microsoft Office\MEDIA\CAGCAT10\j0195384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469900" y="1624013"/>
            <a:ext cx="1081088" cy="1103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直接箭头连接符 6"/>
          <p:cNvCxnSpPr>
            <a:stCxn id="43030" idx="1"/>
            <a:endCxn id="2" idx="1"/>
          </p:cNvCxnSpPr>
          <p:nvPr/>
        </p:nvCxnSpPr>
        <p:spPr>
          <a:xfrm flipV="1">
            <a:off x="1550988" y="1800232"/>
            <a:ext cx="2388370" cy="375437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9" name="圆角矩形 8"/>
          <p:cNvSpPr/>
          <p:nvPr/>
        </p:nvSpPr>
        <p:spPr>
          <a:xfrm>
            <a:off x="1938635" y="1365816"/>
            <a:ext cx="1250355" cy="516393"/>
          </a:xfrm>
          <a:prstGeom prst="roundRect">
            <a:avLst>
              <a:gd name="adj" fmla="val 7791"/>
            </a:avLst>
          </a:prstGeom>
          <a:solidFill>
            <a:schemeClr val="accent4">
              <a:lumMod val="75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修改</a:t>
            </a:r>
            <a:endParaRPr lang="en-US" altLang="zh-CN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cxnSp>
        <p:nvCxnSpPr>
          <p:cNvPr id="11" name="直接箭头连接符 10"/>
          <p:cNvCxnSpPr>
            <a:endCxn id="19" idx="0"/>
          </p:cNvCxnSpPr>
          <p:nvPr/>
        </p:nvCxnSpPr>
        <p:spPr>
          <a:xfrm flipH="1">
            <a:off x="8247681" y="2329841"/>
            <a:ext cx="1053024" cy="2441745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9" name="平行四边形 18"/>
          <p:cNvSpPr/>
          <p:nvPr/>
        </p:nvSpPr>
        <p:spPr>
          <a:xfrm>
            <a:off x="7219132" y="4771586"/>
            <a:ext cx="2057097" cy="592583"/>
          </a:xfrm>
          <a:prstGeom prst="parallelogram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插入</a:t>
            </a:r>
          </a:p>
        </p:txBody>
      </p:sp>
      <p:sp>
        <p:nvSpPr>
          <p:cNvPr id="20" name="平行四边形 19"/>
          <p:cNvSpPr/>
          <p:nvPr/>
        </p:nvSpPr>
        <p:spPr>
          <a:xfrm>
            <a:off x="3939358" y="4771585"/>
            <a:ext cx="2057097" cy="592583"/>
          </a:xfrm>
          <a:prstGeom prst="parallelogram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删除</a:t>
            </a:r>
          </a:p>
        </p:txBody>
      </p:sp>
      <p:cxnSp>
        <p:nvCxnSpPr>
          <p:cNvPr id="23" name="直接箭头连接符 22"/>
          <p:cNvCxnSpPr>
            <a:endCxn id="20" idx="1"/>
          </p:cNvCxnSpPr>
          <p:nvPr/>
        </p:nvCxnSpPr>
        <p:spPr>
          <a:xfrm flipH="1">
            <a:off x="5041979" y="2175669"/>
            <a:ext cx="1621868" cy="2595916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2" name="圆角矩形 21"/>
          <p:cNvSpPr/>
          <p:nvPr/>
        </p:nvSpPr>
        <p:spPr>
          <a:xfrm>
            <a:off x="8918532" y="1785015"/>
            <a:ext cx="764347" cy="390654"/>
          </a:xfrm>
          <a:prstGeom prst="roundRect">
            <a:avLst>
              <a:gd name="adj" fmla="val 7791"/>
            </a:avLst>
          </a:prstGeom>
          <a:solidFill>
            <a:schemeClr val="accent4">
              <a:lumMod val="75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altLang="zh-CN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4</a:t>
            </a:r>
            <a:r>
              <a:rPr lang="zh-CN" altLang="en-US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栋</a:t>
            </a:r>
            <a:endParaRPr lang="zh-CN" altLang="en-US" sz="18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圆角矩形 7"/>
          <p:cNvSpPr/>
          <p:nvPr/>
        </p:nvSpPr>
        <p:spPr>
          <a:xfrm>
            <a:off x="531813" y="759797"/>
            <a:ext cx="8832524" cy="5464367"/>
          </a:xfrm>
          <a:prstGeom prst="roundRect">
            <a:avLst>
              <a:gd name="adj" fmla="val 4347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altLang="zh-CN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Lock(){ using 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</a:t>
            </a:r>
            <a:r>
              <a:rPr lang="en-US" altLang="zh-CN" sz="18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var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conn = </a:t>
            </a:r>
            <a:r>
              <a:rPr lang="en-US" altLang="zh-CN" sz="18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dbr.TTask.GetDbConnection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))</a:t>
            </a:r>
          </a:p>
          <a:p>
            <a:pPr>
              <a:defRPr/>
            </a:pP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{</a:t>
            </a:r>
          </a:p>
          <a:p>
            <a:pPr>
              <a:defRPr/>
            </a:pP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</a:t>
            </a:r>
            <a:r>
              <a:rPr lang="en-US" altLang="zh-CN" sz="18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conn.Open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);</a:t>
            </a:r>
          </a:p>
          <a:p>
            <a:pPr>
              <a:defRPr/>
            </a:pP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using (</a:t>
            </a:r>
            <a:r>
              <a:rPr lang="en-US" altLang="zh-CN" sz="18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var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</a:t>
            </a:r>
            <a:r>
              <a:rPr lang="en-US" altLang="zh-CN" sz="18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tran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= </a:t>
            </a:r>
            <a:r>
              <a:rPr lang="en-US" altLang="zh-CN" sz="18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conn.BeginTransaction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))</a:t>
            </a:r>
          </a:p>
          <a:p>
            <a:pPr>
              <a:defRPr/>
            </a:pP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{</a:t>
            </a:r>
          </a:p>
          <a:p>
            <a:pPr>
              <a:defRPr/>
            </a:pP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	</a:t>
            </a:r>
            <a:r>
              <a:rPr lang="en-US" altLang="zh-CN" sz="18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dbr.TTask.Update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</a:t>
            </a:r>
            <a:r>
              <a:rPr lang="en-US" altLang="zh-CN" sz="18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TaskModel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)</a:t>
            </a:r>
          </a:p>
          <a:p>
            <a:pPr>
              <a:defRPr/>
            </a:pP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		.</a:t>
            </a:r>
            <a:r>
              <a:rPr lang="en-US" altLang="zh-CN" sz="18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UseTransaction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 </a:t>
            </a:r>
            <a:r>
              <a:rPr lang="en-US" altLang="zh-CN" sz="18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tran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).Execute() ;</a:t>
            </a:r>
          </a:p>
          <a:p>
            <a:pPr>
              <a:defRPr/>
            </a:pP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	</a:t>
            </a:r>
            <a:r>
              <a:rPr lang="en-US" altLang="zh-CN" sz="18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dbr.TTaskProcess.Insert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</a:t>
            </a:r>
            <a:r>
              <a:rPr lang="en-US" altLang="zh-CN" sz="18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ProcessModel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)</a:t>
            </a:r>
          </a:p>
          <a:p>
            <a:pPr lvl="2">
              <a:defRPr/>
            </a:pP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	.</a:t>
            </a:r>
            <a:r>
              <a:rPr lang="en-US" altLang="zh-CN" sz="18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UseTransaction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</a:t>
            </a:r>
            <a:r>
              <a:rPr lang="en-US" altLang="zh-CN" sz="18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tran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) .Execute();</a:t>
            </a:r>
          </a:p>
          <a:p>
            <a:pPr>
              <a:defRPr/>
            </a:pP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               	try{ </a:t>
            </a:r>
            <a:r>
              <a:rPr lang="en-US" altLang="zh-CN" sz="18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tran.Commit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); }</a:t>
            </a:r>
          </a:p>
          <a:p>
            <a:pPr>
              <a:defRPr/>
            </a:pP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               	catch { </a:t>
            </a:r>
            <a:r>
              <a:rPr lang="en-US" altLang="zh-CN" sz="18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tran.Rollback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); throw;  }</a:t>
            </a:r>
          </a:p>
          <a:p>
            <a:pPr>
              <a:defRPr/>
            </a:pP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}</a:t>
            </a:r>
          </a:p>
          <a:p>
            <a:pPr>
              <a:defRPr/>
            </a:pPr>
            <a:r>
              <a:rPr lang="en-US" altLang="zh-CN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}}</a:t>
            </a:r>
            <a:endParaRPr lang="en-US" altLang="zh-CN" sz="18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2" name="圆角矩形 11"/>
          <p:cNvSpPr/>
          <p:nvPr/>
        </p:nvSpPr>
        <p:spPr>
          <a:xfrm>
            <a:off x="531813" y="759797"/>
            <a:ext cx="8832524" cy="5464367"/>
          </a:xfrm>
          <a:prstGeom prst="roundRect">
            <a:avLst>
              <a:gd name="adj" fmla="val 4347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altLang="zh-CN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lock()</a:t>
            </a:r>
          </a:p>
          <a:p>
            <a:pPr>
              <a:defRPr/>
            </a:pPr>
            <a:r>
              <a:rPr lang="en-US" altLang="zh-CN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{</a:t>
            </a:r>
          </a:p>
          <a:p>
            <a:pPr>
              <a:defRPr/>
            </a:pP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</a:t>
            </a:r>
            <a:r>
              <a:rPr lang="en-US" altLang="zh-CN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using 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</a:t>
            </a:r>
            <a:r>
              <a:rPr lang="en-US" altLang="zh-CN" sz="18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var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 </a:t>
            </a:r>
            <a:r>
              <a:rPr lang="en-US" altLang="zh-CN" sz="18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tran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= new </a:t>
            </a:r>
            <a:r>
              <a:rPr lang="en-US" altLang="zh-CN" sz="18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TransactionScope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))</a:t>
            </a:r>
          </a:p>
          <a:p>
            <a:pPr>
              <a:defRPr/>
            </a:pPr>
            <a:r>
              <a:rPr lang="en-US" altLang="zh-CN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{</a:t>
            </a:r>
            <a:endParaRPr lang="en-US" altLang="zh-CN" sz="18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  <a:p>
            <a:pPr>
              <a:defRPr/>
            </a:pP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</a:t>
            </a:r>
            <a:r>
              <a:rPr lang="en-US" altLang="zh-CN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</a:t>
            </a:r>
            <a:r>
              <a:rPr lang="en-US" altLang="zh-CN" sz="1800" b="1" spc="50" dirty="0" err="1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dbr.TTask.Update</a:t>
            </a:r>
            <a:r>
              <a:rPr lang="en-US" altLang="zh-CN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</a:t>
            </a:r>
            <a:r>
              <a:rPr lang="en-US" altLang="zh-CN" sz="1800" b="1" spc="50" dirty="0" err="1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TaskModel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)</a:t>
            </a:r>
          </a:p>
          <a:p>
            <a:pPr>
              <a:defRPr/>
            </a:pP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	.Execute() ;</a:t>
            </a:r>
          </a:p>
          <a:p>
            <a:pPr>
              <a:defRPr/>
            </a:pPr>
            <a:r>
              <a:rPr lang="en-US" altLang="zh-CN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</a:t>
            </a:r>
            <a:r>
              <a:rPr lang="en-US" altLang="zh-CN" sz="18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dbr.TTaskProcess.Insert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</a:t>
            </a:r>
            <a:r>
              <a:rPr lang="en-US" altLang="zh-CN" sz="18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ProcessModel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)</a:t>
            </a:r>
          </a:p>
          <a:p>
            <a:pPr lvl="2">
              <a:defRPr/>
            </a:pP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.Execute</a:t>
            </a:r>
            <a:r>
              <a:rPr lang="en-US" altLang="zh-CN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);</a:t>
            </a:r>
            <a:endParaRPr lang="en-US" altLang="zh-CN" sz="18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  <a:p>
            <a:pPr>
              <a:defRPr/>
            </a:pPr>
            <a:r>
              <a:rPr lang="en-US" altLang="zh-CN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</a:t>
            </a:r>
            <a:r>
              <a:rPr lang="en-US" altLang="zh-CN" sz="18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tran</a:t>
            </a: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. Complete() ;</a:t>
            </a:r>
          </a:p>
          <a:p>
            <a:pPr>
              <a:defRPr/>
            </a:pPr>
            <a:r>
              <a:rPr lang="en-US" altLang="zh-CN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}</a:t>
            </a:r>
          </a:p>
          <a:p>
            <a:pPr>
              <a:defRPr/>
            </a:pPr>
            <a:r>
              <a:rPr lang="en-US" altLang="zh-CN" sz="18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}</a:t>
            </a:r>
          </a:p>
        </p:txBody>
      </p:sp>
      <p:sp>
        <p:nvSpPr>
          <p:cNvPr id="44035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 dirty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技术架构图</a:t>
            </a:r>
            <a:r>
              <a:rPr lang="en-US" altLang="zh-CN" sz="2000" b="1" dirty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—</a:t>
            </a:r>
            <a:r>
              <a:rPr lang="zh-CN" altLang="en-US" sz="2000" b="1" dirty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事务</a:t>
            </a:r>
            <a:endParaRPr lang="en-US" altLang="zh-CN" sz="2000" b="1" dirty="0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技术架构图</a:t>
            </a:r>
            <a:r>
              <a:rPr lang="en-US" altLang="zh-CN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—</a:t>
            </a: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报表</a:t>
            </a:r>
            <a:endParaRPr lang="en-US" altLang="zh-CN" sz="2000" b="1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  <p:sp>
        <p:nvSpPr>
          <p:cNvPr id="45059" name="Rectangle 14"/>
          <p:cNvSpPr>
            <a:spLocks noChangeArrowheads="1"/>
          </p:cNvSpPr>
          <p:nvPr/>
        </p:nvSpPr>
        <p:spPr bwMode="auto">
          <a:xfrm>
            <a:off x="1600200" y="4670425"/>
            <a:ext cx="963613" cy="3587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</a:pPr>
            <a:endParaRPr lang="en-US" altLang="zh-CN" sz="1600" b="1">
              <a:ea typeface="华文楷体" pitchFamily="2" charset="-122"/>
            </a:endParaRPr>
          </a:p>
        </p:txBody>
      </p:sp>
      <p:sp>
        <p:nvSpPr>
          <p:cNvPr id="45060" name="Rectangle 15"/>
          <p:cNvSpPr>
            <a:spLocks noChangeArrowheads="1"/>
          </p:cNvSpPr>
          <p:nvPr/>
        </p:nvSpPr>
        <p:spPr bwMode="auto">
          <a:xfrm>
            <a:off x="7366000" y="4670425"/>
            <a:ext cx="927100" cy="3714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</a:pPr>
            <a:endParaRPr lang="en-US" altLang="zh-CN" sz="1600" b="1">
              <a:ea typeface="华文楷体" pitchFamily="2" charset="-122"/>
            </a:endParaRPr>
          </a:p>
        </p:txBody>
      </p:sp>
      <p:graphicFrame>
        <p:nvGraphicFramePr>
          <p:cNvPr id="7" name="图示 6"/>
          <p:cNvGraphicFramePr/>
          <p:nvPr/>
        </p:nvGraphicFramePr>
        <p:xfrm>
          <a:off x="739035" y="1240077"/>
          <a:ext cx="8379913" cy="44843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圆角矩形 10"/>
          <p:cNvSpPr/>
          <p:nvPr/>
        </p:nvSpPr>
        <p:spPr>
          <a:xfrm>
            <a:off x="3468390" y="782342"/>
            <a:ext cx="2919883" cy="5424493"/>
          </a:xfrm>
          <a:prstGeom prst="roundRect">
            <a:avLst>
              <a:gd name="adj" fmla="val 7298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b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华文新魏" pitchFamily="2" charset="-122"/>
                <a:ea typeface="华文新魏" pitchFamily="2" charset="-122"/>
                <a:cs typeface="Arial" pitchFamily="34" charset="0"/>
              </a:rPr>
              <a:t>客户端</a:t>
            </a:r>
          </a:p>
        </p:txBody>
      </p:sp>
      <p:sp>
        <p:nvSpPr>
          <p:cNvPr id="46083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 dirty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技术架构图</a:t>
            </a:r>
            <a:r>
              <a:rPr lang="en-US" altLang="zh-CN" sz="2000" b="1" dirty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—</a:t>
            </a:r>
            <a:r>
              <a:rPr lang="zh-CN" altLang="en-US" sz="2000" b="1" dirty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数据导出</a:t>
            </a:r>
            <a:endParaRPr lang="en-US" altLang="zh-CN" sz="2000" b="1" dirty="0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  <p:pic>
        <p:nvPicPr>
          <p:cNvPr id="46084" name="Picture 5" descr="D:\Program Files (x86)\Microsoft Office\MEDIA\CAGCAT10\j0195384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469900" y="1624013"/>
            <a:ext cx="1081088" cy="1103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直接箭头连接符 8"/>
          <p:cNvCxnSpPr/>
          <p:nvPr/>
        </p:nvCxnSpPr>
        <p:spPr>
          <a:xfrm flipV="1">
            <a:off x="1550988" y="1762125"/>
            <a:ext cx="2058987" cy="214313"/>
          </a:xfrm>
          <a:prstGeom prst="straightConnector1">
            <a:avLst/>
          </a:prstGeom>
          <a:ln>
            <a:solidFill>
              <a:srgbClr val="7030A0"/>
            </a:solidFill>
            <a:tailEnd type="triangle" w="lg" len="lg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" name="圆角矩形 9"/>
          <p:cNvSpPr/>
          <p:nvPr/>
        </p:nvSpPr>
        <p:spPr>
          <a:xfrm>
            <a:off x="1991640" y="1245743"/>
            <a:ext cx="1250355" cy="516393"/>
          </a:xfrm>
          <a:prstGeom prst="roundRect">
            <a:avLst>
              <a:gd name="adj" fmla="val 7791"/>
            </a:avLst>
          </a:prstGeom>
          <a:solidFill>
            <a:schemeClr val="accent4">
              <a:lumMod val="75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导出</a:t>
            </a:r>
            <a:endParaRPr lang="en-US" altLang="zh-CN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2" name="平行四边形 11"/>
          <p:cNvSpPr/>
          <p:nvPr/>
        </p:nvSpPr>
        <p:spPr>
          <a:xfrm>
            <a:off x="3609336" y="1245741"/>
            <a:ext cx="2637990" cy="592583"/>
          </a:xfrm>
          <a:prstGeom prst="parallelogram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构造查</a:t>
            </a:r>
            <a:r>
              <a:rPr lang="zh-CN" altLang="en-US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询条件</a:t>
            </a:r>
          </a:p>
        </p:txBody>
      </p:sp>
      <p:sp>
        <p:nvSpPr>
          <p:cNvPr id="15" name="平行四边形 14"/>
          <p:cNvSpPr/>
          <p:nvPr/>
        </p:nvSpPr>
        <p:spPr>
          <a:xfrm>
            <a:off x="3621862" y="2914531"/>
            <a:ext cx="2637990" cy="592583"/>
          </a:xfrm>
          <a:prstGeom prst="parallelogram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altLang="zh-CN" sz="24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jv.Export</a:t>
            </a:r>
            <a:endParaRPr lang="zh-CN" altLang="en-US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6739003" y="782342"/>
            <a:ext cx="2842747" cy="5424493"/>
          </a:xfrm>
          <a:prstGeom prst="roundRect">
            <a:avLst>
              <a:gd name="adj" fmla="val 7298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b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华文新魏" pitchFamily="2" charset="-122"/>
                <a:ea typeface="华文新魏" pitchFamily="2" charset="-122"/>
                <a:cs typeface="Arial" pitchFamily="34" charset="0"/>
              </a:rPr>
              <a:t>服务器端</a:t>
            </a:r>
          </a:p>
        </p:txBody>
      </p:sp>
      <p:sp>
        <p:nvSpPr>
          <p:cNvPr id="17" name="平行四边形 16"/>
          <p:cNvSpPr/>
          <p:nvPr/>
        </p:nvSpPr>
        <p:spPr>
          <a:xfrm>
            <a:off x="3609336" y="4477457"/>
            <a:ext cx="2637990" cy="592583"/>
          </a:xfrm>
          <a:prstGeom prst="parallelogram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下载</a:t>
            </a:r>
          </a:p>
        </p:txBody>
      </p:sp>
      <p:sp>
        <p:nvSpPr>
          <p:cNvPr id="20" name="平行四边形 19"/>
          <p:cNvSpPr/>
          <p:nvPr/>
        </p:nvSpPr>
        <p:spPr>
          <a:xfrm>
            <a:off x="6901841" y="2902005"/>
            <a:ext cx="2517070" cy="592583"/>
          </a:xfrm>
          <a:prstGeom prst="parallelogram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接收条件</a:t>
            </a:r>
            <a:endParaRPr lang="zh-CN" altLang="en-US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21" name="平行四边形 20"/>
          <p:cNvSpPr/>
          <p:nvPr/>
        </p:nvSpPr>
        <p:spPr>
          <a:xfrm>
            <a:off x="6901841" y="4477456"/>
            <a:ext cx="2517070" cy="592583"/>
          </a:xfrm>
          <a:prstGeom prst="parallelogram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查询输出</a:t>
            </a:r>
            <a:endParaRPr lang="zh-CN" altLang="en-US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cxnSp>
        <p:nvCxnSpPr>
          <p:cNvPr id="25" name="直接箭头连接符 24"/>
          <p:cNvCxnSpPr>
            <a:stCxn id="15" idx="2"/>
            <a:endCxn id="20" idx="5"/>
          </p:cNvCxnSpPr>
          <p:nvPr/>
        </p:nvCxnSpPr>
        <p:spPr>
          <a:xfrm flipV="1">
            <a:off x="6185779" y="3198297"/>
            <a:ext cx="790135" cy="12526"/>
          </a:xfrm>
          <a:prstGeom prst="straightConnector1">
            <a:avLst/>
          </a:prstGeom>
          <a:ln>
            <a:solidFill>
              <a:srgbClr val="7030A0"/>
            </a:solidFill>
            <a:prstDash val="sysDot"/>
            <a:tailEnd type="triangle" w="lg" len="lg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9" name="直接箭头连接符 28"/>
          <p:cNvCxnSpPr>
            <a:endCxn id="21" idx="1"/>
          </p:cNvCxnSpPr>
          <p:nvPr/>
        </p:nvCxnSpPr>
        <p:spPr>
          <a:xfrm>
            <a:off x="8234363" y="3494088"/>
            <a:ext cx="0" cy="982662"/>
          </a:xfrm>
          <a:prstGeom prst="straightConnector1">
            <a:avLst/>
          </a:prstGeom>
          <a:ln>
            <a:solidFill>
              <a:srgbClr val="7030A0"/>
            </a:solidFill>
            <a:tailEnd type="triangle" w="lg" len="lg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3" name="直接箭头连接符 32"/>
          <p:cNvCxnSpPr>
            <a:stCxn id="21" idx="5"/>
            <a:endCxn id="17" idx="2"/>
          </p:cNvCxnSpPr>
          <p:nvPr/>
        </p:nvCxnSpPr>
        <p:spPr>
          <a:xfrm flipH="1">
            <a:off x="6173788" y="4773613"/>
            <a:ext cx="801687" cy="0"/>
          </a:xfrm>
          <a:prstGeom prst="straightConnector1">
            <a:avLst/>
          </a:prstGeom>
          <a:ln>
            <a:solidFill>
              <a:srgbClr val="7030A0"/>
            </a:solidFill>
            <a:tailEnd type="triangle" w="lg" len="lg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6" name="直接箭头连接符 35"/>
          <p:cNvCxnSpPr/>
          <p:nvPr/>
        </p:nvCxnSpPr>
        <p:spPr>
          <a:xfrm flipH="1">
            <a:off x="4927600" y="1870075"/>
            <a:ext cx="0" cy="1031875"/>
          </a:xfrm>
          <a:prstGeom prst="straightConnector1">
            <a:avLst/>
          </a:prstGeom>
          <a:ln>
            <a:solidFill>
              <a:srgbClr val="7030A0"/>
            </a:solidFill>
            <a:tailEnd type="triangle" w="lg" len="lg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4" name="圆角矩形 23"/>
          <p:cNvSpPr/>
          <p:nvPr/>
        </p:nvSpPr>
        <p:spPr>
          <a:xfrm>
            <a:off x="6114792" y="2430050"/>
            <a:ext cx="987466" cy="413360"/>
          </a:xfrm>
          <a:prstGeom prst="roundRect">
            <a:avLst>
              <a:gd name="adj" fmla="val 7791"/>
            </a:avLst>
          </a:prstGeom>
          <a:solidFill>
            <a:schemeClr val="accent4">
              <a:lumMod val="75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altLang="zh-CN" sz="24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Post</a:t>
            </a:r>
            <a:endParaRPr lang="en-US" altLang="zh-CN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8" name="矩形 17"/>
          <p:cNvSpPr/>
          <p:nvPr/>
        </p:nvSpPr>
        <p:spPr>
          <a:xfrm flipV="1">
            <a:off x="0" y="3941741"/>
            <a:ext cx="3382026" cy="2293938"/>
          </a:xfrm>
          <a:prstGeom prst="rect">
            <a:avLst/>
          </a:prstGeom>
          <a:solidFill>
            <a:schemeClr val="accent1">
              <a:alpha val="25000"/>
            </a:schemeClr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zh-CN" alt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19" name="图示 18"/>
          <p:cNvGraphicFramePr/>
          <p:nvPr>
            <p:extLst>
              <p:ext uri="{D42A27DB-BD31-4B8C-83A1-F6EECF244321}">
                <p14:modId xmlns:p14="http://schemas.microsoft.com/office/powerpoint/2010/main" xmlns="" val="95058781"/>
              </p:ext>
            </p:extLst>
          </p:nvPr>
        </p:nvGraphicFramePr>
        <p:xfrm>
          <a:off x="155155" y="4216534"/>
          <a:ext cx="3126664" cy="18199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Graphic spid="19" grpId="0">
        <p:bldAsOne/>
      </p:bldGraphic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技术架构图</a:t>
            </a:r>
            <a:r>
              <a:rPr lang="en-US" altLang="zh-CN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—</a:t>
            </a: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分块加载</a:t>
            </a:r>
            <a:endParaRPr lang="en-US" altLang="zh-CN" sz="2000" b="1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  <p:sp>
        <p:nvSpPr>
          <p:cNvPr id="47107" name="Rectangle 14"/>
          <p:cNvSpPr>
            <a:spLocks noChangeArrowheads="1"/>
          </p:cNvSpPr>
          <p:nvPr/>
        </p:nvSpPr>
        <p:spPr bwMode="auto">
          <a:xfrm>
            <a:off x="1600200" y="4670425"/>
            <a:ext cx="963613" cy="3587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</a:pPr>
            <a:endParaRPr lang="en-US" altLang="zh-CN" sz="1600" b="1">
              <a:ea typeface="华文楷体" pitchFamily="2" charset="-122"/>
            </a:endParaRPr>
          </a:p>
        </p:txBody>
      </p:sp>
      <p:sp>
        <p:nvSpPr>
          <p:cNvPr id="47108" name="Rectangle 15"/>
          <p:cNvSpPr>
            <a:spLocks noChangeArrowheads="1"/>
          </p:cNvSpPr>
          <p:nvPr/>
        </p:nvSpPr>
        <p:spPr bwMode="auto">
          <a:xfrm>
            <a:off x="7366000" y="4670425"/>
            <a:ext cx="927100" cy="3714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</a:pPr>
            <a:endParaRPr lang="en-US" altLang="zh-CN" sz="1600" b="1">
              <a:ea typeface="华文楷体" pitchFamily="2" charset="-122"/>
            </a:endParaRPr>
          </a:p>
        </p:txBody>
      </p:sp>
      <p:pic>
        <p:nvPicPr>
          <p:cNvPr id="47109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8625" y="939800"/>
            <a:ext cx="9048750" cy="497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技术架构图</a:t>
            </a:r>
            <a:r>
              <a:rPr lang="en-US" altLang="zh-CN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—</a:t>
            </a: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客户端插件</a:t>
            </a:r>
            <a:endParaRPr lang="en-US" altLang="zh-CN" sz="2000" b="1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  <p:sp>
        <p:nvSpPr>
          <p:cNvPr id="48131" name="Rectangle 14"/>
          <p:cNvSpPr>
            <a:spLocks noChangeArrowheads="1"/>
          </p:cNvSpPr>
          <p:nvPr/>
        </p:nvSpPr>
        <p:spPr bwMode="auto">
          <a:xfrm>
            <a:off x="1600200" y="4670425"/>
            <a:ext cx="963613" cy="3587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</a:pPr>
            <a:endParaRPr lang="en-US" altLang="zh-CN" sz="1600" b="1">
              <a:ea typeface="华文楷体" pitchFamily="2" charset="-122"/>
            </a:endParaRPr>
          </a:p>
        </p:txBody>
      </p:sp>
      <p:sp>
        <p:nvSpPr>
          <p:cNvPr id="48132" name="Rectangle 15"/>
          <p:cNvSpPr>
            <a:spLocks noChangeArrowheads="1"/>
          </p:cNvSpPr>
          <p:nvPr/>
        </p:nvSpPr>
        <p:spPr bwMode="auto">
          <a:xfrm>
            <a:off x="7366000" y="4670425"/>
            <a:ext cx="927100" cy="3714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</a:pPr>
            <a:endParaRPr lang="en-US" altLang="zh-CN" sz="1600" b="1">
              <a:ea typeface="华文楷体" pitchFamily="2" charset="-122"/>
            </a:endParaRPr>
          </a:p>
        </p:txBody>
      </p:sp>
      <p:graphicFrame>
        <p:nvGraphicFramePr>
          <p:cNvPr id="2" name="图示 1"/>
          <p:cNvGraphicFramePr/>
          <p:nvPr>
            <p:extLst>
              <p:ext uri="{D42A27DB-BD31-4B8C-83A1-F6EECF244321}">
                <p14:modId xmlns:p14="http://schemas.microsoft.com/office/powerpoint/2010/main" xmlns="" val="1122764828"/>
              </p:ext>
            </p:extLst>
          </p:nvPr>
        </p:nvGraphicFramePr>
        <p:xfrm>
          <a:off x="1600200" y="1277770"/>
          <a:ext cx="6604000" cy="4402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1"/>
          </p:nvPr>
        </p:nvSpPr>
        <p:spPr>
          <a:xfrm>
            <a:off x="976313" y="712788"/>
            <a:ext cx="6891337" cy="342900"/>
          </a:xfrm>
        </p:spPr>
        <p:txBody>
          <a:bodyPr/>
          <a:lstStyle/>
          <a:p>
            <a:pPr marL="0" indent="0" eaLnBrk="1" hangingPunct="1">
              <a:defRPr/>
            </a:pPr>
            <a:r>
              <a:rPr lang="zh-CN" altLang="en-US"/>
              <a:t>技术架构主要方面</a:t>
            </a:r>
          </a:p>
        </p:txBody>
      </p:sp>
      <p:graphicFrame>
        <p:nvGraphicFramePr>
          <p:cNvPr id="2" name="图示 1"/>
          <p:cNvGraphicFramePr/>
          <p:nvPr/>
        </p:nvGraphicFramePr>
        <p:xfrm>
          <a:off x="1955800" y="1746739"/>
          <a:ext cx="5289062" cy="2476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1"/>
          </p:nvPr>
        </p:nvSpPr>
        <p:spPr>
          <a:xfrm>
            <a:off x="976313" y="712788"/>
            <a:ext cx="6891337" cy="342900"/>
          </a:xfrm>
        </p:spPr>
        <p:txBody>
          <a:bodyPr/>
          <a:lstStyle/>
          <a:p>
            <a:pPr marL="0" indent="0" eaLnBrk="1" hangingPunct="1">
              <a:defRPr/>
            </a:pPr>
            <a:r>
              <a:rPr lang="zh-CN" altLang="en-US"/>
              <a:t>技术架构主要方面</a:t>
            </a:r>
          </a:p>
        </p:txBody>
      </p:sp>
      <p:graphicFrame>
        <p:nvGraphicFramePr>
          <p:cNvPr id="2" name="图示 1"/>
          <p:cNvGraphicFramePr/>
          <p:nvPr/>
        </p:nvGraphicFramePr>
        <p:xfrm>
          <a:off x="1955800" y="1746739"/>
          <a:ext cx="5289062" cy="2476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矩形 27"/>
          <p:cNvSpPr/>
          <p:nvPr/>
        </p:nvSpPr>
        <p:spPr>
          <a:xfrm flipV="1">
            <a:off x="-119063" y="4054475"/>
            <a:ext cx="10229851" cy="2293938"/>
          </a:xfrm>
          <a:prstGeom prst="rect">
            <a:avLst/>
          </a:prstGeom>
          <a:solidFill>
            <a:schemeClr val="accent1">
              <a:alpha val="25000"/>
            </a:schemeClr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zh-CN" alt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0179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 dirty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性能</a:t>
            </a:r>
            <a:r>
              <a:rPr lang="en-US" altLang="zh-CN" sz="2000" b="1" dirty="0" smtClean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—</a:t>
            </a:r>
            <a:r>
              <a:rPr lang="zh-CN" altLang="en-US" sz="2000" b="1" dirty="0" smtClean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服务器数据缓存</a:t>
            </a:r>
            <a:endParaRPr lang="en-US" altLang="zh-CN" sz="2000" b="1" dirty="0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  <p:pic>
        <p:nvPicPr>
          <p:cNvPr id="50180" name="Picture 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66000" y="1028700"/>
            <a:ext cx="4019550" cy="269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圆角矩形 5"/>
          <p:cNvSpPr/>
          <p:nvPr/>
        </p:nvSpPr>
        <p:spPr>
          <a:xfrm>
            <a:off x="342040" y="1378226"/>
            <a:ext cx="810900" cy="2345635"/>
          </a:xfrm>
          <a:prstGeom prst="roundRect">
            <a:avLst>
              <a:gd name="adj" fmla="val 7791"/>
            </a:avLst>
          </a:prstGeom>
          <a:solidFill>
            <a:schemeClr val="tx2">
              <a:lumMod val="60000"/>
              <a:lumOff val="40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eaVert"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altLang="zh-CN" sz="24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MyOql</a:t>
            </a:r>
            <a:r>
              <a:rPr lang="zh-CN" altLang="en-US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查询</a:t>
            </a:r>
            <a:endParaRPr lang="en-US" altLang="zh-CN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cxnSp>
        <p:nvCxnSpPr>
          <p:cNvPr id="7" name="直接箭头连接符 6"/>
          <p:cNvCxnSpPr/>
          <p:nvPr/>
        </p:nvCxnSpPr>
        <p:spPr>
          <a:xfrm flipH="1">
            <a:off x="4956314" y="1378226"/>
            <a:ext cx="2743199" cy="450573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aphicFrame>
        <p:nvGraphicFramePr>
          <p:cNvPr id="11" name="图示 10"/>
          <p:cNvGraphicFramePr/>
          <p:nvPr/>
        </p:nvGraphicFramePr>
        <p:xfrm>
          <a:off x="1600200" y="1378226"/>
          <a:ext cx="3316357" cy="23456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1" name="圆角矩形标注 20"/>
          <p:cNvSpPr/>
          <p:nvPr/>
        </p:nvSpPr>
        <p:spPr>
          <a:xfrm>
            <a:off x="7699375" y="2093913"/>
            <a:ext cx="3551238" cy="1033462"/>
          </a:xfrm>
          <a:prstGeom prst="wedgeRoundRectCallout">
            <a:avLst>
              <a:gd name="adj1" fmla="val -130963"/>
              <a:gd name="adj2" fmla="val -1369"/>
              <a:gd name="adj3" fmla="val 16667"/>
            </a:avLst>
          </a:prstGeom>
          <a:gradFill>
            <a:gsLst>
              <a:gs pos="0">
                <a:schemeClr val="accent1">
                  <a:shade val="30000"/>
                  <a:satMod val="115000"/>
                  <a:alpha val="13000"/>
                </a:schemeClr>
              </a:gs>
              <a:gs pos="50000">
                <a:schemeClr val="accent1">
                  <a:shade val="67500"/>
                  <a:satMod val="115000"/>
                  <a:alpha val="52000"/>
                </a:schemeClr>
              </a:gs>
              <a:gs pos="100000">
                <a:schemeClr val="accent1">
                  <a:shade val="100000"/>
                  <a:satMod val="115000"/>
                  <a:alpha val="45000"/>
                  <a:lumMod val="53000"/>
                </a:schemeClr>
              </a:gs>
            </a:gsLst>
            <a:lin ang="5400000" scaled="0"/>
          </a:gra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zh-CN" altLang="en-US" sz="1300" dirty="0">
              <a:solidFill>
                <a:schemeClr val="tx2">
                  <a:lumMod val="20000"/>
                  <a:lumOff val="80000"/>
                </a:schemeClr>
              </a:solidFill>
              <a:cs typeface="Arial" pitchFamily="34" charset="0"/>
            </a:endParaRPr>
          </a:p>
        </p:txBody>
      </p:sp>
      <p:sp>
        <p:nvSpPr>
          <p:cNvPr id="23" name="左大括号 22"/>
          <p:cNvSpPr/>
          <p:nvPr/>
        </p:nvSpPr>
        <p:spPr>
          <a:xfrm>
            <a:off x="5327374" y="1364973"/>
            <a:ext cx="1378226" cy="2358888"/>
          </a:xfrm>
          <a:prstGeom prst="leftBrace">
            <a:avLst>
              <a:gd name="adj1" fmla="val 8627"/>
              <a:gd name="adj2" fmla="val 81582"/>
            </a:avLst>
          </a:prstGeom>
          <a:ln/>
          <a:effectLst>
            <a:glow rad="1016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zh-CN" altLang="en-US" b="1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  <p:graphicFrame>
        <p:nvGraphicFramePr>
          <p:cNvPr id="27" name="图示 26"/>
          <p:cNvGraphicFramePr/>
          <p:nvPr/>
        </p:nvGraphicFramePr>
        <p:xfrm>
          <a:off x="2535100" y="4304216"/>
          <a:ext cx="4802187" cy="18199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xmlns="" val="19483097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Graphic spid="27" grpId="0">
        <p:bldAsOne/>
      </p:bldGraphic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矩形 27"/>
          <p:cNvSpPr/>
          <p:nvPr/>
        </p:nvSpPr>
        <p:spPr>
          <a:xfrm flipV="1">
            <a:off x="1834997" y="1085805"/>
            <a:ext cx="7258899" cy="1782654"/>
          </a:xfrm>
          <a:prstGeom prst="rect">
            <a:avLst/>
          </a:prstGeom>
          <a:solidFill>
            <a:schemeClr val="accent1">
              <a:alpha val="25000"/>
            </a:schemeClr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zh-CN" alt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0179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 dirty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性能</a:t>
            </a:r>
            <a:r>
              <a:rPr lang="en-US" altLang="zh-CN" sz="2000" b="1" dirty="0" smtClean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—</a:t>
            </a:r>
            <a:r>
              <a:rPr lang="zh-CN" altLang="en-US" sz="2000" b="1" dirty="0" smtClean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避免批量循环</a:t>
            </a:r>
            <a:endParaRPr lang="en-US" altLang="zh-CN" sz="2000" b="1" dirty="0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  <p:pic>
        <p:nvPicPr>
          <p:cNvPr id="12" name="Picture 5" descr="D:\Program Files (x86)\Microsoft Office\MEDIA\CAGCAT10\j0195384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469900" y="1624013"/>
            <a:ext cx="1081088" cy="1103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圆角矩形 12"/>
          <p:cNvSpPr/>
          <p:nvPr/>
        </p:nvSpPr>
        <p:spPr>
          <a:xfrm>
            <a:off x="1991640" y="1245743"/>
            <a:ext cx="1250355" cy="516393"/>
          </a:xfrm>
          <a:prstGeom prst="roundRect">
            <a:avLst>
              <a:gd name="adj" fmla="val 7791"/>
            </a:avLst>
          </a:prstGeom>
          <a:solidFill>
            <a:schemeClr val="accent4">
              <a:lumMod val="75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设置</a:t>
            </a:r>
            <a:endParaRPr lang="en-US" altLang="zh-CN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3532341" y="1258269"/>
            <a:ext cx="1665960" cy="516393"/>
          </a:xfrm>
          <a:prstGeom prst="roundRect">
            <a:avLst>
              <a:gd name="adj" fmla="val 7791"/>
            </a:avLst>
          </a:prstGeom>
          <a:solidFill>
            <a:schemeClr val="accent4">
              <a:lumMod val="75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批量设置</a:t>
            </a:r>
            <a:endParaRPr lang="en-US" altLang="zh-CN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5" name="圆角矩形 14"/>
          <p:cNvSpPr/>
          <p:nvPr/>
        </p:nvSpPr>
        <p:spPr>
          <a:xfrm>
            <a:off x="425884" y="3043824"/>
            <a:ext cx="4121063" cy="3194138"/>
          </a:xfrm>
          <a:prstGeom prst="roundRect">
            <a:avLst>
              <a:gd name="adj" fmla="val 7298"/>
            </a:avLst>
          </a:prstGeom>
          <a:gradFill>
            <a:gsLst>
              <a:gs pos="0">
                <a:schemeClr val="tx1">
                  <a:lumMod val="65000"/>
                  <a:lumOff val="35000"/>
                </a:schemeClr>
              </a:gs>
              <a:gs pos="35000">
                <a:schemeClr val="accent3">
                  <a:tint val="37000"/>
                  <a:satMod val="300000"/>
                </a:schemeClr>
              </a:gs>
              <a:gs pos="100000">
                <a:schemeClr val="accent3">
                  <a:tint val="15000"/>
                  <a:satMod val="350000"/>
                </a:schemeClr>
              </a:gs>
            </a:gsLst>
          </a:gra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b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华文新魏" pitchFamily="2" charset="-122"/>
                <a:ea typeface="华文新魏" pitchFamily="2" charset="-122"/>
                <a:cs typeface="Arial" pitchFamily="34" charset="0"/>
              </a:rPr>
              <a:t>不推荐做法</a:t>
            </a:r>
            <a:endParaRPr lang="zh-CN" altLang="en-US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华文新魏" pitchFamily="2" charset="-122"/>
              <a:ea typeface="华文新魏" pitchFamily="2" charset="-122"/>
              <a:cs typeface="Arial" pitchFamily="34" charset="0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5373664" y="3056349"/>
            <a:ext cx="4096011" cy="3194138"/>
          </a:xfrm>
          <a:prstGeom prst="roundRect">
            <a:avLst>
              <a:gd name="adj" fmla="val 7298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b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华文新魏" pitchFamily="2" charset="-122"/>
                <a:ea typeface="华文新魏" pitchFamily="2" charset="-122"/>
                <a:cs typeface="Arial" pitchFamily="34" charset="0"/>
              </a:rPr>
              <a:t>推荐做法</a:t>
            </a:r>
            <a:endParaRPr lang="zh-CN" altLang="en-US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华文新魏" pitchFamily="2" charset="-122"/>
              <a:ea typeface="华文新魏" pitchFamily="2" charset="-122"/>
              <a:cs typeface="Arial" pitchFamily="34" charset="0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496490" y="3139279"/>
            <a:ext cx="3987827" cy="2597642"/>
          </a:xfrm>
          <a:prstGeom prst="roundRect">
            <a:avLst>
              <a:gd name="adj" fmla="val 7791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altLang="zh-CN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foreach(var item in collection){</a:t>
            </a:r>
          </a:p>
          <a:p>
            <a:pPr>
              <a:defRPr/>
            </a:pPr>
            <a:r>
              <a:rPr lang="en-US" altLang="zh-CN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//</a:t>
            </a:r>
            <a:r>
              <a:rPr lang="zh-CN" altLang="en-US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单次设置</a:t>
            </a:r>
            <a:endParaRPr lang="en-US" altLang="zh-CN" sz="1800" b="1" spc="50" dirty="0" smtClean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  <a:p>
            <a:pPr>
              <a:defRPr/>
            </a:pPr>
            <a:r>
              <a:rPr lang="en-US" altLang="zh-CN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Set(item) ;</a:t>
            </a:r>
          </a:p>
          <a:p>
            <a:pPr>
              <a:defRPr/>
            </a:pPr>
            <a:r>
              <a:rPr lang="en-US" altLang="zh-CN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}</a:t>
            </a:r>
            <a:endParaRPr lang="en-US" altLang="zh-CN" sz="18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8" name="圆角矩形 17"/>
          <p:cNvSpPr/>
          <p:nvPr/>
        </p:nvSpPr>
        <p:spPr>
          <a:xfrm>
            <a:off x="5444271" y="3126753"/>
            <a:ext cx="3987827" cy="2597642"/>
          </a:xfrm>
          <a:prstGeom prst="roundRect">
            <a:avLst>
              <a:gd name="adj" fmla="val 7791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altLang="zh-CN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public void SetBatch(params int[] itemIds){</a:t>
            </a:r>
          </a:p>
          <a:p>
            <a:pPr>
              <a:defRPr/>
            </a:pPr>
            <a:r>
              <a:rPr lang="en-US" altLang="zh-CN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//</a:t>
            </a:r>
            <a:r>
              <a:rPr lang="zh-CN" altLang="en-US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批量更新。</a:t>
            </a:r>
            <a:endParaRPr lang="en-US" altLang="zh-CN" sz="1800" b="1" spc="50" dirty="0" smtClean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  <a:p>
            <a:pPr>
              <a:defRPr/>
            </a:pPr>
            <a:r>
              <a:rPr lang="en-US" altLang="zh-CN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	dbr.Entity.Update(o=&gt;o.Flag == “OK”).Execute();</a:t>
            </a:r>
          </a:p>
          <a:p>
            <a:pPr>
              <a:defRPr/>
            </a:pPr>
            <a:r>
              <a:rPr lang="en-US" altLang="zh-CN" sz="1800" b="1" spc="50" dirty="0" smtClean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}</a:t>
            </a:r>
            <a:endParaRPr lang="en-US" altLang="zh-CN" sz="18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48309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 dirty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性能</a:t>
            </a:r>
            <a:r>
              <a:rPr lang="en-US" altLang="zh-CN" sz="2000" b="1" dirty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—</a:t>
            </a:r>
            <a:r>
              <a:rPr lang="zh-CN" altLang="en-US" sz="2000" b="1" dirty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数据库</a:t>
            </a:r>
            <a:endParaRPr lang="en-US" altLang="zh-CN" sz="2000" b="1" dirty="0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  <p:graphicFrame>
        <p:nvGraphicFramePr>
          <p:cNvPr id="5" name="图示 4"/>
          <p:cNvGraphicFramePr/>
          <p:nvPr/>
        </p:nvGraphicFramePr>
        <p:xfrm>
          <a:off x="1600200" y="1277770"/>
          <a:ext cx="6604000" cy="4402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 dirty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性能</a:t>
            </a:r>
            <a:r>
              <a:rPr lang="en-US" altLang="zh-CN" sz="2000" b="1" dirty="0" smtClean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—</a:t>
            </a:r>
            <a:r>
              <a:rPr lang="zh-CN" altLang="en-US" sz="2000" b="1" dirty="0" smtClean="0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页面压缩</a:t>
            </a:r>
            <a:r>
              <a:rPr lang="en-US" altLang="zh-CN" sz="2000" b="1" dirty="0" err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Js</a:t>
            </a:r>
            <a:endParaRPr lang="en-US" altLang="zh-CN" sz="2000" b="1" dirty="0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  <p:sp>
        <p:nvSpPr>
          <p:cNvPr id="52227" name="Rectangle 14"/>
          <p:cNvSpPr>
            <a:spLocks noChangeArrowheads="1"/>
          </p:cNvSpPr>
          <p:nvPr/>
        </p:nvSpPr>
        <p:spPr bwMode="auto">
          <a:xfrm>
            <a:off x="1600200" y="4670425"/>
            <a:ext cx="963613" cy="3587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</a:pPr>
            <a:endParaRPr lang="en-US" altLang="zh-CN" sz="1600" b="1">
              <a:ea typeface="华文楷体" pitchFamily="2" charset="-122"/>
            </a:endParaRPr>
          </a:p>
        </p:txBody>
      </p:sp>
      <p:sp>
        <p:nvSpPr>
          <p:cNvPr id="52228" name="Rectangle 15"/>
          <p:cNvSpPr>
            <a:spLocks noChangeArrowheads="1"/>
          </p:cNvSpPr>
          <p:nvPr/>
        </p:nvSpPr>
        <p:spPr bwMode="auto">
          <a:xfrm>
            <a:off x="7366000" y="4670425"/>
            <a:ext cx="927100" cy="3714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</a:pPr>
            <a:endParaRPr lang="en-US" altLang="zh-CN" sz="1600" b="1">
              <a:ea typeface="华文楷体" pitchFamily="2" charset="-122"/>
            </a:endParaRPr>
          </a:p>
        </p:txBody>
      </p:sp>
      <p:graphicFrame>
        <p:nvGraphicFramePr>
          <p:cNvPr id="2" name="图示 1"/>
          <p:cNvGraphicFramePr/>
          <p:nvPr/>
        </p:nvGraphicFramePr>
        <p:xfrm>
          <a:off x="2703443" y="1227666"/>
          <a:ext cx="5738191" cy="2456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圆角矩形 5"/>
          <p:cNvSpPr/>
          <p:nvPr/>
        </p:nvSpPr>
        <p:spPr>
          <a:xfrm>
            <a:off x="342040" y="1378227"/>
            <a:ext cx="2221773" cy="927652"/>
          </a:xfrm>
          <a:prstGeom prst="roundRect">
            <a:avLst>
              <a:gd name="adj" fmla="val 7791"/>
            </a:avLst>
          </a:prstGeom>
          <a:solidFill>
            <a:schemeClr val="tx2">
              <a:lumMod val="60000"/>
              <a:lumOff val="40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引用</a:t>
            </a:r>
            <a:r>
              <a:rPr lang="en-US" altLang="zh-CN" sz="24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Js</a:t>
            </a:r>
            <a:r>
              <a:rPr lang="zh-CN" altLang="en-US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文件</a:t>
            </a:r>
            <a:endParaRPr lang="en-US" altLang="zh-CN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7" name="矩形 6"/>
          <p:cNvSpPr/>
          <p:nvPr/>
        </p:nvSpPr>
        <p:spPr>
          <a:xfrm flipV="1">
            <a:off x="-119063" y="4054475"/>
            <a:ext cx="10229851" cy="2293938"/>
          </a:xfrm>
          <a:prstGeom prst="rect">
            <a:avLst/>
          </a:prstGeom>
          <a:solidFill>
            <a:schemeClr val="accent1">
              <a:alpha val="25000"/>
            </a:schemeClr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zh-CN" alt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8" name="图示 7"/>
          <p:cNvGraphicFramePr/>
          <p:nvPr>
            <p:extLst>
              <p:ext uri="{D42A27DB-BD31-4B8C-83A1-F6EECF244321}">
                <p14:modId xmlns:p14="http://schemas.microsoft.com/office/powerpoint/2010/main" xmlns="" val="95058781"/>
              </p:ext>
            </p:extLst>
          </p:nvPr>
        </p:nvGraphicFramePr>
        <p:xfrm>
          <a:off x="2535100" y="4304216"/>
          <a:ext cx="4802187" cy="18199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xmlns="" val="196676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Graphic spid="8" grpId="0">
        <p:bldAsOne/>
      </p:bldGraphic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>
            <a:spLocks/>
          </p:cNvSpPr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spcBef>
                <a:spcPct val="0"/>
              </a:spcBef>
              <a:defRPr/>
            </a:pPr>
            <a:endParaRPr 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3251" name="Rectangle 262"/>
          <p:cNvSpPr>
            <a:spLocks noChangeArrowheads="1"/>
          </p:cNvSpPr>
          <p:nvPr/>
        </p:nvSpPr>
        <p:spPr bwMode="auto">
          <a:xfrm>
            <a:off x="0" y="4619625"/>
            <a:ext cx="2124075" cy="1066800"/>
          </a:xfrm>
          <a:prstGeom prst="rect">
            <a:avLst/>
          </a:prstGeom>
          <a:solidFill>
            <a:srgbClr val="D6CBC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52" name="Text Box 263"/>
          <p:cNvSpPr txBox="1">
            <a:spLocks noChangeArrowheads="1"/>
          </p:cNvSpPr>
          <p:nvPr/>
        </p:nvSpPr>
        <p:spPr bwMode="auto">
          <a:xfrm>
            <a:off x="4763" y="0"/>
            <a:ext cx="9901237" cy="685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en-US" altLang="zh-CN" sz="1000">
              <a:solidFill>
                <a:srgbClr val="000000"/>
              </a:solidFill>
              <a:latin typeface="Times New Roman" pitchFamily="18" charset="0"/>
              <a:ea typeface="华文楷体" pitchFamily="2" charset="-122"/>
            </a:endParaRPr>
          </a:p>
          <a:p>
            <a:pPr eaLnBrk="1" hangingPunct="1">
              <a:spcBef>
                <a:spcPct val="0"/>
              </a:spcBef>
            </a:pPr>
            <a:endParaRPr lang="en-US" altLang="zh-CN" sz="1300">
              <a:solidFill>
                <a:srgbClr val="336666"/>
              </a:solidFill>
              <a:ea typeface="华文楷体" pitchFamily="2" charset="-122"/>
            </a:endParaRPr>
          </a:p>
          <a:p>
            <a:pPr eaLnBrk="1" hangingPunct="1"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53" name="Line 264"/>
          <p:cNvSpPr>
            <a:spLocks noChangeShapeType="1"/>
          </p:cNvSpPr>
          <p:nvPr/>
        </p:nvSpPr>
        <p:spPr bwMode="auto">
          <a:xfrm>
            <a:off x="2665413" y="2798763"/>
            <a:ext cx="5383212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endParaRPr lang="zh-CN" altLang="en-US"/>
          </a:p>
        </p:txBody>
      </p:sp>
      <p:sp>
        <p:nvSpPr>
          <p:cNvPr id="53254" name="Rectangle 265"/>
          <p:cNvSpPr>
            <a:spLocks noChangeArrowheads="1"/>
          </p:cNvSpPr>
          <p:nvPr/>
        </p:nvSpPr>
        <p:spPr bwMode="auto">
          <a:xfrm>
            <a:off x="1127125" y="4763"/>
            <a:ext cx="2124075" cy="1066800"/>
          </a:xfrm>
          <a:prstGeom prst="rect">
            <a:avLst/>
          </a:prstGeom>
          <a:solidFill>
            <a:srgbClr val="D6CBC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55" name="Rectangle 266"/>
          <p:cNvSpPr>
            <a:spLocks noChangeArrowheads="1"/>
          </p:cNvSpPr>
          <p:nvPr/>
        </p:nvSpPr>
        <p:spPr bwMode="auto">
          <a:xfrm>
            <a:off x="1114425" y="2311400"/>
            <a:ext cx="1012825" cy="2224088"/>
          </a:xfrm>
          <a:prstGeom prst="rect">
            <a:avLst/>
          </a:prstGeom>
          <a:solidFill>
            <a:srgbClr val="D6CBC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56" name="Rectangle 267"/>
          <p:cNvSpPr>
            <a:spLocks noChangeArrowheads="1"/>
          </p:cNvSpPr>
          <p:nvPr/>
        </p:nvSpPr>
        <p:spPr bwMode="auto">
          <a:xfrm>
            <a:off x="1114425" y="3467100"/>
            <a:ext cx="1012825" cy="1071563"/>
          </a:xfrm>
          <a:prstGeom prst="rect">
            <a:avLst/>
          </a:prstGeom>
          <a:solidFill>
            <a:srgbClr val="D1E2AC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57" name="Rectangle 268"/>
          <p:cNvSpPr>
            <a:spLocks noChangeArrowheads="1"/>
          </p:cNvSpPr>
          <p:nvPr/>
        </p:nvSpPr>
        <p:spPr bwMode="auto">
          <a:xfrm>
            <a:off x="0" y="5786438"/>
            <a:ext cx="1014413" cy="1066800"/>
          </a:xfrm>
          <a:prstGeom prst="rect">
            <a:avLst/>
          </a:prstGeom>
          <a:solidFill>
            <a:srgbClr val="D6CBC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58" name="Rectangle 269"/>
          <p:cNvSpPr>
            <a:spLocks noChangeArrowheads="1"/>
          </p:cNvSpPr>
          <p:nvPr/>
        </p:nvSpPr>
        <p:spPr bwMode="auto">
          <a:xfrm>
            <a:off x="5556250" y="4633913"/>
            <a:ext cx="1012825" cy="1066800"/>
          </a:xfrm>
          <a:prstGeom prst="rect">
            <a:avLst/>
          </a:prstGeom>
          <a:solidFill>
            <a:srgbClr val="B2DCC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59" name="Rectangle 270"/>
          <p:cNvSpPr>
            <a:spLocks noChangeArrowheads="1"/>
          </p:cNvSpPr>
          <p:nvPr/>
        </p:nvSpPr>
        <p:spPr bwMode="auto">
          <a:xfrm>
            <a:off x="2227263" y="5786438"/>
            <a:ext cx="1012825" cy="1066800"/>
          </a:xfrm>
          <a:prstGeom prst="rect">
            <a:avLst/>
          </a:prstGeom>
          <a:solidFill>
            <a:srgbClr val="D6CBC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60" name="Rectangle 271"/>
          <p:cNvSpPr>
            <a:spLocks noChangeArrowheads="1"/>
          </p:cNvSpPr>
          <p:nvPr/>
        </p:nvSpPr>
        <p:spPr bwMode="auto">
          <a:xfrm>
            <a:off x="7783513" y="5786438"/>
            <a:ext cx="2122487" cy="1066800"/>
          </a:xfrm>
          <a:prstGeom prst="rect">
            <a:avLst/>
          </a:prstGeom>
          <a:solidFill>
            <a:srgbClr val="D6CBC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61" name="Rectangle 272"/>
          <p:cNvSpPr>
            <a:spLocks noChangeArrowheads="1"/>
          </p:cNvSpPr>
          <p:nvPr/>
        </p:nvSpPr>
        <p:spPr bwMode="auto">
          <a:xfrm>
            <a:off x="8880475" y="0"/>
            <a:ext cx="1012825" cy="107156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62" name="Rectangle 273"/>
          <p:cNvSpPr>
            <a:spLocks noChangeArrowheads="1"/>
          </p:cNvSpPr>
          <p:nvPr/>
        </p:nvSpPr>
        <p:spPr bwMode="auto">
          <a:xfrm>
            <a:off x="3336925" y="4763"/>
            <a:ext cx="1012825" cy="10668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63" name="Rectangle 274"/>
          <p:cNvSpPr>
            <a:spLocks noChangeArrowheads="1"/>
          </p:cNvSpPr>
          <p:nvPr/>
        </p:nvSpPr>
        <p:spPr bwMode="auto">
          <a:xfrm>
            <a:off x="2222500" y="4633913"/>
            <a:ext cx="1014413" cy="10668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64" name="Rectangle 275"/>
          <p:cNvSpPr>
            <a:spLocks noChangeArrowheads="1"/>
          </p:cNvSpPr>
          <p:nvPr/>
        </p:nvSpPr>
        <p:spPr bwMode="auto">
          <a:xfrm>
            <a:off x="3335338" y="4633913"/>
            <a:ext cx="2124075" cy="1066800"/>
          </a:xfrm>
          <a:prstGeom prst="rect">
            <a:avLst/>
          </a:prstGeom>
          <a:solidFill>
            <a:srgbClr val="D6CBC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65" name="Rectangle 276"/>
          <p:cNvSpPr>
            <a:spLocks noChangeArrowheads="1"/>
          </p:cNvSpPr>
          <p:nvPr/>
        </p:nvSpPr>
        <p:spPr bwMode="auto">
          <a:xfrm>
            <a:off x="0" y="1157288"/>
            <a:ext cx="1014413" cy="1066800"/>
          </a:xfrm>
          <a:prstGeom prst="rect">
            <a:avLst/>
          </a:prstGeom>
          <a:solidFill>
            <a:srgbClr val="B2DCC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66" name="Rectangle 277"/>
          <p:cNvSpPr>
            <a:spLocks noChangeArrowheads="1"/>
          </p:cNvSpPr>
          <p:nvPr/>
        </p:nvSpPr>
        <p:spPr bwMode="auto">
          <a:xfrm>
            <a:off x="0" y="4763"/>
            <a:ext cx="1012825" cy="1066800"/>
          </a:xfrm>
          <a:prstGeom prst="rect">
            <a:avLst/>
          </a:prstGeom>
          <a:solidFill>
            <a:srgbClr val="D6CBC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67" name="Line 279"/>
          <p:cNvSpPr>
            <a:spLocks noChangeShapeType="1"/>
          </p:cNvSpPr>
          <p:nvPr/>
        </p:nvSpPr>
        <p:spPr bwMode="auto">
          <a:xfrm>
            <a:off x="2227263" y="4524375"/>
            <a:ext cx="7678737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571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endParaRPr lang="zh-CN" altLang="en-US"/>
          </a:p>
        </p:txBody>
      </p:sp>
      <p:sp>
        <p:nvSpPr>
          <p:cNvPr id="53268" name="Line 280"/>
          <p:cNvSpPr>
            <a:spLocks noChangeShapeType="1"/>
          </p:cNvSpPr>
          <p:nvPr/>
        </p:nvSpPr>
        <p:spPr bwMode="auto">
          <a:xfrm>
            <a:off x="2255838" y="1169988"/>
            <a:ext cx="0" cy="338137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571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endParaRPr lang="zh-CN" altLang="en-US"/>
          </a:p>
        </p:txBody>
      </p:sp>
      <p:sp>
        <p:nvSpPr>
          <p:cNvPr id="53269" name="Line 281"/>
          <p:cNvSpPr>
            <a:spLocks noChangeShapeType="1"/>
          </p:cNvSpPr>
          <p:nvPr/>
        </p:nvSpPr>
        <p:spPr bwMode="auto">
          <a:xfrm>
            <a:off x="2227263" y="1169988"/>
            <a:ext cx="7678737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571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endParaRPr lang="zh-CN" altLang="en-US"/>
          </a:p>
        </p:txBody>
      </p:sp>
      <p:sp>
        <p:nvSpPr>
          <p:cNvPr id="53270" name="Rectangle 282"/>
          <p:cNvSpPr>
            <a:spLocks noChangeArrowheads="1"/>
          </p:cNvSpPr>
          <p:nvPr/>
        </p:nvSpPr>
        <p:spPr bwMode="auto">
          <a:xfrm>
            <a:off x="8890000" y="4633913"/>
            <a:ext cx="1012825" cy="10668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71" name="Rectangle 283"/>
          <p:cNvSpPr>
            <a:spLocks noChangeArrowheads="1"/>
          </p:cNvSpPr>
          <p:nvPr/>
        </p:nvSpPr>
        <p:spPr bwMode="auto">
          <a:xfrm>
            <a:off x="4445000" y="5791200"/>
            <a:ext cx="2124075" cy="1066800"/>
          </a:xfrm>
          <a:prstGeom prst="rect">
            <a:avLst/>
          </a:prstGeom>
          <a:solidFill>
            <a:srgbClr val="D6CBC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72" name="Rectangle 284"/>
          <p:cNvSpPr>
            <a:spLocks noChangeArrowheads="1"/>
          </p:cNvSpPr>
          <p:nvPr/>
        </p:nvSpPr>
        <p:spPr bwMode="auto">
          <a:xfrm>
            <a:off x="6670675" y="5786438"/>
            <a:ext cx="1012825" cy="10668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73" name="Rectangle 286"/>
          <p:cNvSpPr>
            <a:spLocks noChangeArrowheads="1"/>
          </p:cNvSpPr>
          <p:nvPr/>
        </p:nvSpPr>
        <p:spPr bwMode="auto">
          <a:xfrm>
            <a:off x="1093788" y="5786438"/>
            <a:ext cx="1012825" cy="1066800"/>
          </a:xfrm>
          <a:prstGeom prst="rect">
            <a:avLst/>
          </a:prstGeom>
          <a:solidFill>
            <a:srgbClr val="B2DCC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74" name="Rectangle 287"/>
          <p:cNvSpPr>
            <a:spLocks noChangeArrowheads="1"/>
          </p:cNvSpPr>
          <p:nvPr/>
        </p:nvSpPr>
        <p:spPr bwMode="auto">
          <a:xfrm>
            <a:off x="0" y="2319338"/>
            <a:ext cx="1014413" cy="107473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75" name="Rectangle 288"/>
          <p:cNvSpPr>
            <a:spLocks noChangeArrowheads="1"/>
          </p:cNvSpPr>
          <p:nvPr/>
        </p:nvSpPr>
        <p:spPr bwMode="auto">
          <a:xfrm>
            <a:off x="6667500" y="4640263"/>
            <a:ext cx="2124075" cy="1066800"/>
          </a:xfrm>
          <a:prstGeom prst="rect">
            <a:avLst/>
          </a:prstGeom>
          <a:solidFill>
            <a:srgbClr val="D6CBC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76" name="Rectangle 289"/>
          <p:cNvSpPr>
            <a:spLocks noChangeArrowheads="1"/>
          </p:cNvSpPr>
          <p:nvPr/>
        </p:nvSpPr>
        <p:spPr bwMode="auto">
          <a:xfrm>
            <a:off x="3333750" y="4633913"/>
            <a:ext cx="1012825" cy="2224087"/>
          </a:xfrm>
          <a:prstGeom prst="rect">
            <a:avLst/>
          </a:prstGeom>
          <a:solidFill>
            <a:srgbClr val="D6CBC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77" name="Rectangle 290"/>
          <p:cNvSpPr>
            <a:spLocks noChangeArrowheads="1"/>
          </p:cNvSpPr>
          <p:nvPr/>
        </p:nvSpPr>
        <p:spPr bwMode="auto">
          <a:xfrm>
            <a:off x="5556250" y="4763"/>
            <a:ext cx="2132013" cy="1066800"/>
          </a:xfrm>
          <a:prstGeom prst="rect">
            <a:avLst/>
          </a:prstGeom>
          <a:solidFill>
            <a:srgbClr val="D6CBC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78" name="Rectangle 291"/>
          <p:cNvSpPr>
            <a:spLocks noChangeArrowheads="1"/>
          </p:cNvSpPr>
          <p:nvPr/>
        </p:nvSpPr>
        <p:spPr bwMode="auto">
          <a:xfrm>
            <a:off x="0" y="3468688"/>
            <a:ext cx="2124075" cy="1066800"/>
          </a:xfrm>
          <a:prstGeom prst="rect">
            <a:avLst/>
          </a:prstGeom>
          <a:solidFill>
            <a:srgbClr val="D6CBC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79" name="Rectangle 292"/>
          <p:cNvSpPr>
            <a:spLocks noChangeArrowheads="1"/>
          </p:cNvSpPr>
          <p:nvPr/>
        </p:nvSpPr>
        <p:spPr bwMode="auto">
          <a:xfrm>
            <a:off x="7778750" y="4763"/>
            <a:ext cx="1012825" cy="1066800"/>
          </a:xfrm>
          <a:prstGeom prst="rect">
            <a:avLst/>
          </a:prstGeom>
          <a:solidFill>
            <a:srgbClr val="D6CBC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80" name="Rectangle 293"/>
          <p:cNvSpPr>
            <a:spLocks noChangeArrowheads="1"/>
          </p:cNvSpPr>
          <p:nvPr/>
        </p:nvSpPr>
        <p:spPr bwMode="auto">
          <a:xfrm>
            <a:off x="1111250" y="4763"/>
            <a:ext cx="1014413" cy="2224087"/>
          </a:xfrm>
          <a:prstGeom prst="rect">
            <a:avLst/>
          </a:prstGeom>
          <a:solidFill>
            <a:srgbClr val="D6CBC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81" name="Rectangle 294"/>
          <p:cNvSpPr>
            <a:spLocks noChangeArrowheads="1"/>
          </p:cNvSpPr>
          <p:nvPr/>
        </p:nvSpPr>
        <p:spPr bwMode="auto">
          <a:xfrm>
            <a:off x="4445000" y="4763"/>
            <a:ext cx="1014413" cy="1066800"/>
          </a:xfrm>
          <a:prstGeom prst="rect">
            <a:avLst/>
          </a:prstGeom>
          <a:solidFill>
            <a:srgbClr val="B2DCC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/>
          <a:lstStyle/>
          <a:p>
            <a:pPr>
              <a:spcBef>
                <a:spcPct val="0"/>
              </a:spcBef>
            </a:pPr>
            <a:endParaRPr lang="en-US" altLang="zh-CN" sz="1300" b="1">
              <a:ea typeface="华文楷体" pitchFamily="2" charset="-122"/>
            </a:endParaRPr>
          </a:p>
        </p:txBody>
      </p:sp>
      <p:sp>
        <p:nvSpPr>
          <p:cNvPr id="53282" name="Line 193"/>
          <p:cNvSpPr>
            <a:spLocks noChangeShapeType="1"/>
          </p:cNvSpPr>
          <p:nvPr/>
        </p:nvSpPr>
        <p:spPr bwMode="auto">
          <a:xfrm>
            <a:off x="2082800" y="1166813"/>
            <a:ext cx="0" cy="3382962"/>
          </a:xfrm>
          <a:prstGeom prst="line">
            <a:avLst/>
          </a:prstGeom>
          <a:noFill/>
          <a:ln w="57150">
            <a:solidFill>
              <a:srgbClr val="2D4C9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36576" tIns="36576" rIns="36576" bIns="36576"/>
          <a:lstStyle/>
          <a:p>
            <a:endParaRPr lang="zh-CN" altLang="en-US"/>
          </a:p>
        </p:txBody>
      </p:sp>
      <p:sp>
        <p:nvSpPr>
          <p:cNvPr id="53283" name="Line 192"/>
          <p:cNvSpPr>
            <a:spLocks noChangeShapeType="1"/>
          </p:cNvSpPr>
          <p:nvPr/>
        </p:nvSpPr>
        <p:spPr bwMode="auto">
          <a:xfrm>
            <a:off x="2055813" y="4522788"/>
            <a:ext cx="7091362" cy="0"/>
          </a:xfrm>
          <a:prstGeom prst="line">
            <a:avLst/>
          </a:prstGeom>
          <a:noFill/>
          <a:ln w="57150" algn="ctr">
            <a:solidFill>
              <a:srgbClr val="2D4C9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36576" tIns="36576" rIns="36576" bIns="36576"/>
          <a:lstStyle/>
          <a:p>
            <a:endParaRPr lang="zh-CN" altLang="en-US"/>
          </a:p>
        </p:txBody>
      </p:sp>
      <p:sp>
        <p:nvSpPr>
          <p:cNvPr id="53284" name="Line 194"/>
          <p:cNvSpPr>
            <a:spLocks noChangeShapeType="1"/>
          </p:cNvSpPr>
          <p:nvPr/>
        </p:nvSpPr>
        <p:spPr bwMode="auto">
          <a:xfrm>
            <a:off x="2055813" y="1166813"/>
            <a:ext cx="7091362" cy="0"/>
          </a:xfrm>
          <a:prstGeom prst="line">
            <a:avLst/>
          </a:prstGeom>
          <a:noFill/>
          <a:ln w="57150" algn="ctr">
            <a:solidFill>
              <a:srgbClr val="2D4C9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36576" tIns="36576" rIns="36576" bIns="36576"/>
          <a:lstStyle/>
          <a:p>
            <a:endParaRPr lang="zh-CN" altLang="en-US"/>
          </a:p>
        </p:txBody>
      </p:sp>
      <p:pic>
        <p:nvPicPr>
          <p:cNvPr id="53285" name="Picture 14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7637" t="40820" r="10645" b="34961"/>
          <a:stretch>
            <a:fillRect/>
          </a:stretch>
        </p:blipFill>
        <p:spPr bwMode="auto">
          <a:xfrm>
            <a:off x="8126413" y="1393825"/>
            <a:ext cx="1778000" cy="275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286" name="TextBox 61"/>
          <p:cNvSpPr txBox="1">
            <a:spLocks noChangeArrowheads="1"/>
          </p:cNvSpPr>
          <p:nvPr/>
        </p:nvSpPr>
        <p:spPr bwMode="auto">
          <a:xfrm>
            <a:off x="4076700" y="2305050"/>
            <a:ext cx="2049463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altLang="zh-CN" sz="7200" b="1">
                <a:solidFill>
                  <a:schemeClr val="accent2"/>
                </a:solidFill>
                <a:ea typeface="华文楷体" pitchFamily="2" charset="-122"/>
              </a:rPr>
              <a:t>Q&amp;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3"/>
          <p:cNvSpPr>
            <a:spLocks noGrp="1"/>
          </p:cNvSpPr>
          <p:nvPr>
            <p:ph type="body" idx="4294967295"/>
          </p:nvPr>
        </p:nvSpPr>
        <p:spPr>
          <a:xfrm>
            <a:off x="631825" y="2349500"/>
            <a:ext cx="8697913" cy="1779588"/>
          </a:xfrm>
        </p:spPr>
        <p:txBody>
          <a:bodyPr/>
          <a:lstStyle/>
          <a:p>
            <a:pPr eaLnBrk="1" hangingPunct="1"/>
            <a:r>
              <a:rPr lang="zh-CN" altLang="en-US" sz="3600" b="1" smtClean="0">
                <a:solidFill>
                  <a:schemeClr val="hlink"/>
                </a:solidFill>
              </a:rPr>
              <a:t>                           感谢聆听</a:t>
            </a:r>
          </a:p>
          <a:p>
            <a:pPr eaLnBrk="1" hangingPunct="1"/>
            <a:endParaRPr lang="zh-CN" altLang="en-US" sz="3600" b="1" smtClean="0">
              <a:solidFill>
                <a:schemeClr val="hlink"/>
              </a:solidFill>
            </a:endParaRPr>
          </a:p>
          <a:p>
            <a:pPr eaLnBrk="1" hangingPunct="1"/>
            <a:r>
              <a:rPr lang="zh-CN" altLang="en-US" sz="3600" b="1" smtClean="0">
                <a:solidFill>
                  <a:schemeClr val="hlink"/>
                </a:solidFill>
              </a:rPr>
              <a:t>                           欢迎指正</a:t>
            </a:r>
          </a:p>
          <a:p>
            <a:pPr eaLnBrk="1" hangingPunct="1"/>
            <a:endParaRPr lang="en-US" altLang="zh-CN" sz="3600" b="1" smtClean="0">
              <a:solidFill>
                <a:schemeClr val="hlin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技术架构图</a:t>
            </a:r>
            <a:endParaRPr lang="en-US" altLang="zh-CN" sz="2000" b="1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  <p:sp>
        <p:nvSpPr>
          <p:cNvPr id="23555" name="Rectangle 14"/>
          <p:cNvSpPr>
            <a:spLocks noChangeArrowheads="1"/>
          </p:cNvSpPr>
          <p:nvPr/>
        </p:nvSpPr>
        <p:spPr bwMode="auto">
          <a:xfrm>
            <a:off x="1600200" y="4670425"/>
            <a:ext cx="963613" cy="3587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</a:pPr>
            <a:endParaRPr lang="en-US" altLang="zh-CN" sz="1600" b="1">
              <a:ea typeface="华文楷体" pitchFamily="2" charset="-122"/>
            </a:endParaRPr>
          </a:p>
        </p:txBody>
      </p:sp>
      <p:sp>
        <p:nvSpPr>
          <p:cNvPr id="23556" name="Rectangle 15"/>
          <p:cNvSpPr>
            <a:spLocks noChangeArrowheads="1"/>
          </p:cNvSpPr>
          <p:nvPr/>
        </p:nvSpPr>
        <p:spPr bwMode="auto">
          <a:xfrm>
            <a:off x="7366000" y="4670425"/>
            <a:ext cx="927100" cy="3714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</a:pPr>
            <a:endParaRPr lang="en-US" altLang="zh-CN" sz="1600" b="1">
              <a:ea typeface="华文楷体" pitchFamily="2" charset="-122"/>
            </a:endParaRPr>
          </a:p>
        </p:txBody>
      </p:sp>
      <p:graphicFrame>
        <p:nvGraphicFramePr>
          <p:cNvPr id="2" name="图示 1"/>
          <p:cNvGraphicFramePr/>
          <p:nvPr>
            <p:extLst>
              <p:ext uri="{D42A27DB-BD31-4B8C-83A1-F6EECF244321}">
                <p14:modId xmlns:p14="http://schemas.microsoft.com/office/powerpoint/2010/main" xmlns="" val="3794864671"/>
              </p:ext>
            </p:extLst>
          </p:nvPr>
        </p:nvGraphicFramePr>
        <p:xfrm>
          <a:off x="-145774" y="539750"/>
          <a:ext cx="10707757" cy="59538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圆角矩形 60"/>
          <p:cNvSpPr/>
          <p:nvPr/>
        </p:nvSpPr>
        <p:spPr>
          <a:xfrm>
            <a:off x="173038" y="3101975"/>
            <a:ext cx="7234237" cy="1257300"/>
          </a:xfrm>
          <a:prstGeom prst="roundRect">
            <a:avLst>
              <a:gd name="adj" fmla="val 7853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eaVert" lIns="0" tIns="0" rIns="0" bIns="0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endParaRPr lang="zh-CN" altLang="en-US" sz="2000" b="1" spc="50" dirty="0">
              <a:ln w="11430"/>
              <a:solidFill>
                <a:srgbClr val="003F56"/>
              </a:solidFill>
              <a:effectLst>
                <a:glow rad="101600">
                  <a:schemeClr val="accent4">
                    <a:satMod val="175000"/>
                    <a:alpha val="40000"/>
                  </a:schemeClr>
                </a:glow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40" name="圆角矩形 39"/>
          <p:cNvSpPr/>
          <p:nvPr/>
        </p:nvSpPr>
        <p:spPr>
          <a:xfrm>
            <a:off x="147638" y="814388"/>
            <a:ext cx="7259637" cy="2133600"/>
          </a:xfrm>
          <a:prstGeom prst="roundRect">
            <a:avLst>
              <a:gd name="adj" fmla="val 7853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eaVert" lIns="0" tIns="0" rIns="0" bIns="0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endParaRPr lang="zh-CN" altLang="en-US" sz="2000" b="1" spc="50" dirty="0">
              <a:ln w="11430"/>
              <a:solidFill>
                <a:srgbClr val="003F56"/>
              </a:solidFill>
              <a:effectLst>
                <a:glow rad="101600">
                  <a:schemeClr val="accent4">
                    <a:satMod val="175000"/>
                    <a:alpha val="40000"/>
                  </a:schemeClr>
                </a:glow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62" name="圆角矩形 61"/>
          <p:cNvSpPr/>
          <p:nvPr/>
        </p:nvSpPr>
        <p:spPr>
          <a:xfrm>
            <a:off x="147638" y="4611688"/>
            <a:ext cx="7259637" cy="1258887"/>
          </a:xfrm>
          <a:prstGeom prst="roundRect">
            <a:avLst>
              <a:gd name="adj" fmla="val 7853"/>
            </a:avLst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eaVert" lIns="0" tIns="0" rIns="0" bIns="0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endParaRPr lang="zh-CN" altLang="en-US" sz="2000" b="1" spc="50" dirty="0">
              <a:ln w="11430"/>
              <a:solidFill>
                <a:srgbClr val="003F56"/>
              </a:solidFill>
              <a:effectLst>
                <a:glow rad="101600">
                  <a:schemeClr val="accent4">
                    <a:satMod val="175000"/>
                    <a:alpha val="40000"/>
                  </a:schemeClr>
                </a:glow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87" name="圆角矩形 86"/>
          <p:cNvSpPr/>
          <p:nvPr/>
        </p:nvSpPr>
        <p:spPr>
          <a:xfrm>
            <a:off x="4535488" y="1166813"/>
            <a:ext cx="1238250" cy="4946650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zh-CN" altLang="en-US" sz="1300" dirty="0">
                <a:solidFill>
                  <a:schemeClr val="tx1"/>
                </a:solidFill>
                <a:cs typeface="Arial" pitchFamily="34" charset="0"/>
              </a:rPr>
              <a:t>开发组</a:t>
            </a:r>
          </a:p>
        </p:txBody>
      </p:sp>
      <p:sp>
        <p:nvSpPr>
          <p:cNvPr id="88" name="圆角矩形 87"/>
          <p:cNvSpPr/>
          <p:nvPr/>
        </p:nvSpPr>
        <p:spPr>
          <a:xfrm>
            <a:off x="3230563" y="1166813"/>
            <a:ext cx="1238250" cy="4946650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zh-CN" altLang="en-US" sz="1300" dirty="0">
                <a:solidFill>
                  <a:schemeClr val="tx1"/>
                </a:solidFill>
                <a:cs typeface="Arial" pitchFamily="34" charset="0"/>
              </a:rPr>
              <a:t>开发组</a:t>
            </a:r>
          </a:p>
        </p:txBody>
      </p:sp>
      <p:sp>
        <p:nvSpPr>
          <p:cNvPr id="89" name="圆角矩形 88"/>
          <p:cNvSpPr/>
          <p:nvPr/>
        </p:nvSpPr>
        <p:spPr>
          <a:xfrm>
            <a:off x="1898650" y="1160463"/>
            <a:ext cx="1239838" cy="4948237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zh-CN" altLang="en-US" sz="1300" dirty="0">
                <a:solidFill>
                  <a:schemeClr val="tx1"/>
                </a:solidFill>
                <a:cs typeface="Arial" pitchFamily="34" charset="0"/>
              </a:rPr>
              <a:t>开发组</a:t>
            </a:r>
          </a:p>
        </p:txBody>
      </p:sp>
      <p:sp>
        <p:nvSpPr>
          <p:cNvPr id="90" name="圆角矩形 89"/>
          <p:cNvSpPr/>
          <p:nvPr/>
        </p:nvSpPr>
        <p:spPr>
          <a:xfrm>
            <a:off x="581025" y="1160463"/>
            <a:ext cx="1238250" cy="4948237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zh-CN" altLang="en-US" sz="1300" dirty="0">
                <a:solidFill>
                  <a:schemeClr val="tx1"/>
                </a:solidFill>
                <a:cs typeface="Arial" pitchFamily="34" charset="0"/>
              </a:rPr>
              <a:t>开发组</a:t>
            </a:r>
          </a:p>
        </p:txBody>
      </p:sp>
      <p:sp>
        <p:nvSpPr>
          <p:cNvPr id="8" name="圆角矩形 7"/>
          <p:cNvSpPr/>
          <p:nvPr/>
        </p:nvSpPr>
        <p:spPr>
          <a:xfrm>
            <a:off x="5861050" y="1166813"/>
            <a:ext cx="1239838" cy="4946650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zh-CN" altLang="en-US" sz="1300" dirty="0">
                <a:solidFill>
                  <a:schemeClr val="tx1"/>
                </a:solidFill>
                <a:cs typeface="Arial" pitchFamily="34" charset="0"/>
              </a:rPr>
              <a:t>开发组</a:t>
            </a:r>
          </a:p>
        </p:txBody>
      </p:sp>
      <p:sp>
        <p:nvSpPr>
          <p:cNvPr id="24586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项目及代码结构</a:t>
            </a:r>
            <a:r>
              <a:rPr lang="en-US" altLang="zh-CN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—</a:t>
            </a: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以业务为导向</a:t>
            </a:r>
            <a:endParaRPr lang="en-US" altLang="zh-CN" sz="2000" b="1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  <p:graphicFrame>
        <p:nvGraphicFramePr>
          <p:cNvPr id="3" name="图示 2"/>
          <p:cNvGraphicFramePr/>
          <p:nvPr>
            <p:extLst>
              <p:ext uri="{D42A27DB-BD31-4B8C-83A1-F6EECF244321}">
                <p14:modId xmlns:p14="http://schemas.microsoft.com/office/powerpoint/2010/main" xmlns="" val="3550004571"/>
              </p:ext>
            </p:extLst>
          </p:nvPr>
        </p:nvGraphicFramePr>
        <p:xfrm>
          <a:off x="251792" y="909614"/>
          <a:ext cx="7106171" cy="16082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下箭头 3"/>
          <p:cNvSpPr/>
          <p:nvPr/>
        </p:nvSpPr>
        <p:spPr>
          <a:xfrm>
            <a:off x="1119125" y="2570924"/>
            <a:ext cx="304800" cy="755372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zh-CN" alt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41" name="下箭头 40"/>
          <p:cNvSpPr/>
          <p:nvPr/>
        </p:nvSpPr>
        <p:spPr>
          <a:xfrm>
            <a:off x="2366562" y="2570924"/>
            <a:ext cx="304800" cy="755373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zh-CN" alt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42" name="下箭头 41"/>
          <p:cNvSpPr/>
          <p:nvPr/>
        </p:nvSpPr>
        <p:spPr>
          <a:xfrm>
            <a:off x="3671377" y="2570924"/>
            <a:ext cx="304800" cy="755373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zh-CN" alt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43" name="下箭头 42"/>
          <p:cNvSpPr/>
          <p:nvPr/>
        </p:nvSpPr>
        <p:spPr>
          <a:xfrm>
            <a:off x="4950354" y="2590803"/>
            <a:ext cx="304800" cy="755373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zh-CN" alt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44" name="下箭头 43"/>
          <p:cNvSpPr/>
          <p:nvPr/>
        </p:nvSpPr>
        <p:spPr>
          <a:xfrm>
            <a:off x="6324294" y="2570922"/>
            <a:ext cx="304800" cy="755373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zh-CN" alt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  <p:grpSp>
        <p:nvGrpSpPr>
          <p:cNvPr id="46" name="组合 45"/>
          <p:cNvGrpSpPr/>
          <p:nvPr/>
        </p:nvGrpSpPr>
        <p:grpSpPr>
          <a:xfrm>
            <a:off x="735918" y="3428999"/>
            <a:ext cx="1004510" cy="669673"/>
            <a:chOff x="439104" y="938084"/>
            <a:chExt cx="1004510" cy="669673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59" name="圆角矩形 58"/>
            <p:cNvSpPr/>
            <p:nvPr/>
          </p:nvSpPr>
          <p:spPr>
            <a:xfrm>
              <a:off x="439104" y="938084"/>
              <a:ext cx="1004510" cy="669673"/>
            </a:xfrm>
            <a:prstGeom prst="roundRect">
              <a:avLst>
                <a:gd name="adj" fmla="val 10000"/>
              </a:avLst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</p:sp>
        <p:sp>
          <p:nvSpPr>
            <p:cNvPr id="60" name="圆角矩形 4"/>
            <p:cNvSpPr/>
            <p:nvPr/>
          </p:nvSpPr>
          <p:spPr>
            <a:xfrm>
              <a:off x="458718" y="957698"/>
              <a:ext cx="965282" cy="630445"/>
            </a:xfrm>
            <a:prstGeom prst="rect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60960" tIns="60960" rIns="60960" bIns="60960" spcCol="1270" anchor="ctr"/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zh-CN" altLang="en-US" sz="1600" dirty="0"/>
                <a:t>系统管理</a:t>
              </a: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2041781" y="3428999"/>
            <a:ext cx="1004510" cy="669673"/>
            <a:chOff x="1744967" y="938084"/>
            <a:chExt cx="1004510" cy="669673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57" name="圆角矩形 56"/>
            <p:cNvSpPr/>
            <p:nvPr/>
          </p:nvSpPr>
          <p:spPr>
            <a:xfrm>
              <a:off x="1744967" y="938084"/>
              <a:ext cx="1004510" cy="669673"/>
            </a:xfrm>
            <a:prstGeom prst="roundRect">
              <a:avLst>
                <a:gd name="adj" fmla="val 10000"/>
              </a:avLst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</p:sp>
        <p:sp>
          <p:nvSpPr>
            <p:cNvPr id="58" name="圆角矩形 6"/>
            <p:cNvSpPr/>
            <p:nvPr/>
          </p:nvSpPr>
          <p:spPr>
            <a:xfrm>
              <a:off x="1764581" y="957698"/>
              <a:ext cx="965282" cy="630445"/>
            </a:xfrm>
            <a:prstGeom prst="rect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60960" tIns="60960" rIns="60960" bIns="60960" spcCol="1270" anchor="ctr"/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zh-CN" altLang="en-US" sz="1600" dirty="0"/>
                <a:t>业务管理</a:t>
              </a: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3347644" y="3428999"/>
            <a:ext cx="1004510" cy="669673"/>
            <a:chOff x="3050830" y="938084"/>
            <a:chExt cx="1004510" cy="669673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55" name="圆角矩形 54"/>
            <p:cNvSpPr/>
            <p:nvPr/>
          </p:nvSpPr>
          <p:spPr>
            <a:xfrm>
              <a:off x="3050830" y="938084"/>
              <a:ext cx="1004510" cy="669673"/>
            </a:xfrm>
            <a:prstGeom prst="roundRect">
              <a:avLst>
                <a:gd name="adj" fmla="val 10000"/>
              </a:avLst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</p:sp>
        <p:sp>
          <p:nvSpPr>
            <p:cNvPr id="56" name="圆角矩形 8"/>
            <p:cNvSpPr/>
            <p:nvPr/>
          </p:nvSpPr>
          <p:spPr>
            <a:xfrm>
              <a:off x="3070444" y="957698"/>
              <a:ext cx="965282" cy="630445"/>
            </a:xfrm>
            <a:prstGeom prst="rect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60960" tIns="60960" rIns="60960" bIns="60960" spcCol="1270" anchor="ctr"/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zh-CN" altLang="en-US" sz="1600" dirty="0"/>
                <a:t>报表</a:t>
              </a:r>
            </a:p>
          </p:txBody>
        </p:sp>
      </p:grpSp>
      <p:grpSp>
        <p:nvGrpSpPr>
          <p:cNvPr id="49" name="组合 48"/>
          <p:cNvGrpSpPr/>
          <p:nvPr/>
        </p:nvGrpSpPr>
        <p:grpSpPr>
          <a:xfrm>
            <a:off x="4666759" y="3428999"/>
            <a:ext cx="1004510" cy="669673"/>
            <a:chOff x="4356693" y="938084"/>
            <a:chExt cx="1004510" cy="669673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53" name="圆角矩形 52"/>
            <p:cNvSpPr/>
            <p:nvPr/>
          </p:nvSpPr>
          <p:spPr>
            <a:xfrm>
              <a:off x="4356693" y="938084"/>
              <a:ext cx="1004510" cy="669673"/>
            </a:xfrm>
            <a:prstGeom prst="roundRect">
              <a:avLst>
                <a:gd name="adj" fmla="val 10000"/>
              </a:avLst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</p:sp>
        <p:sp>
          <p:nvSpPr>
            <p:cNvPr id="54" name="圆角矩形 10"/>
            <p:cNvSpPr/>
            <p:nvPr/>
          </p:nvSpPr>
          <p:spPr>
            <a:xfrm>
              <a:off x="4376307" y="957698"/>
              <a:ext cx="965282" cy="630445"/>
            </a:xfrm>
            <a:prstGeom prst="rect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60960" tIns="60960" rIns="60960" bIns="60960" spcCol="1270" anchor="ctr"/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zh-CN" altLang="en-US" sz="1600" dirty="0"/>
                <a:t>接口服务</a:t>
              </a:r>
            </a:p>
          </p:txBody>
        </p:sp>
      </p:grpSp>
      <p:grpSp>
        <p:nvGrpSpPr>
          <p:cNvPr id="50" name="组合 49"/>
          <p:cNvGrpSpPr/>
          <p:nvPr/>
        </p:nvGrpSpPr>
        <p:grpSpPr>
          <a:xfrm>
            <a:off x="5999126" y="3428999"/>
            <a:ext cx="1004510" cy="669673"/>
            <a:chOff x="5662556" y="938084"/>
            <a:chExt cx="1004510" cy="669673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51" name="圆角矩形 50"/>
            <p:cNvSpPr/>
            <p:nvPr/>
          </p:nvSpPr>
          <p:spPr>
            <a:xfrm>
              <a:off x="5662556" y="938084"/>
              <a:ext cx="1004510" cy="669673"/>
            </a:xfrm>
            <a:prstGeom prst="roundRect">
              <a:avLst>
                <a:gd name="adj" fmla="val 10000"/>
              </a:avLst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</p:sp>
        <p:sp>
          <p:nvSpPr>
            <p:cNvPr id="52" name="圆角矩形 12"/>
            <p:cNvSpPr/>
            <p:nvPr/>
          </p:nvSpPr>
          <p:spPr>
            <a:xfrm>
              <a:off x="5682170" y="957698"/>
              <a:ext cx="965282" cy="630445"/>
            </a:xfrm>
            <a:prstGeom prst="rect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60960" tIns="60960" rIns="60960" bIns="60960" spcCol="1270" anchor="ctr"/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zh-CN" altLang="en-US" sz="1600" dirty="0"/>
                <a:t>门户</a:t>
              </a:r>
            </a:p>
          </p:txBody>
        </p:sp>
      </p:grpSp>
      <p:sp>
        <p:nvSpPr>
          <p:cNvPr id="63" name="下箭头 62"/>
          <p:cNvSpPr/>
          <p:nvPr/>
        </p:nvSpPr>
        <p:spPr>
          <a:xfrm>
            <a:off x="1118441" y="4178186"/>
            <a:ext cx="304800" cy="755372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zh-CN" alt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4" name="下箭头 63"/>
          <p:cNvSpPr/>
          <p:nvPr/>
        </p:nvSpPr>
        <p:spPr>
          <a:xfrm>
            <a:off x="2365878" y="4178186"/>
            <a:ext cx="304800" cy="755373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zh-CN" alt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5" name="下箭头 64"/>
          <p:cNvSpPr/>
          <p:nvPr/>
        </p:nvSpPr>
        <p:spPr>
          <a:xfrm>
            <a:off x="3670693" y="4178186"/>
            <a:ext cx="304800" cy="755373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zh-CN" alt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6" name="下箭头 65"/>
          <p:cNvSpPr/>
          <p:nvPr/>
        </p:nvSpPr>
        <p:spPr>
          <a:xfrm>
            <a:off x="5043118" y="4198065"/>
            <a:ext cx="304800" cy="755373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zh-CN" alt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7" name="下箭头 66"/>
          <p:cNvSpPr/>
          <p:nvPr/>
        </p:nvSpPr>
        <p:spPr>
          <a:xfrm>
            <a:off x="6323610" y="4178184"/>
            <a:ext cx="304800" cy="755373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zh-CN" alt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742280" y="4953438"/>
            <a:ext cx="1004510" cy="669673"/>
            <a:chOff x="439104" y="938084"/>
            <a:chExt cx="1004510" cy="669673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69" name="圆角矩形 68"/>
            <p:cNvSpPr/>
            <p:nvPr/>
          </p:nvSpPr>
          <p:spPr>
            <a:xfrm>
              <a:off x="439104" y="938084"/>
              <a:ext cx="1004510" cy="669673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</p:sp>
        <p:sp>
          <p:nvSpPr>
            <p:cNvPr id="70" name="圆角矩形 4"/>
            <p:cNvSpPr/>
            <p:nvPr/>
          </p:nvSpPr>
          <p:spPr>
            <a:xfrm>
              <a:off x="458718" y="957698"/>
              <a:ext cx="965282" cy="630445"/>
            </a:xfrm>
            <a:prstGeom prst="rect">
              <a:avLst/>
            </a:prstGeom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60960" tIns="60960" rIns="60960" bIns="60960" spcCol="1270" anchor="ctr"/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altLang="zh-CN" sz="1600" dirty="0"/>
                <a:t>~/Admin/</a:t>
              </a:r>
              <a:endParaRPr lang="zh-CN" altLang="en-US" sz="1600" dirty="0"/>
            </a:p>
          </p:txBody>
        </p:sp>
      </p:grpSp>
      <p:grpSp>
        <p:nvGrpSpPr>
          <p:cNvPr id="71" name="组合 70"/>
          <p:cNvGrpSpPr/>
          <p:nvPr/>
        </p:nvGrpSpPr>
        <p:grpSpPr>
          <a:xfrm>
            <a:off x="2048143" y="4953438"/>
            <a:ext cx="1004510" cy="669673"/>
            <a:chOff x="1744967" y="938084"/>
            <a:chExt cx="1004510" cy="669673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72" name="圆角矩形 71"/>
            <p:cNvSpPr/>
            <p:nvPr/>
          </p:nvSpPr>
          <p:spPr>
            <a:xfrm>
              <a:off x="1744967" y="938084"/>
              <a:ext cx="1004510" cy="669673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</p:sp>
        <p:sp>
          <p:nvSpPr>
            <p:cNvPr id="73" name="圆角矩形 6"/>
            <p:cNvSpPr/>
            <p:nvPr/>
          </p:nvSpPr>
          <p:spPr>
            <a:xfrm>
              <a:off x="1764581" y="957698"/>
              <a:ext cx="965282" cy="630445"/>
            </a:xfrm>
            <a:prstGeom prst="rect">
              <a:avLst/>
            </a:prstGeom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60960" tIns="60960" rIns="60960" bIns="60960" spcCol="1270" anchor="ctr"/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altLang="zh-CN" sz="1600" dirty="0" smtClean="0"/>
                <a:t>~/</a:t>
              </a:r>
              <a:r>
                <a:rPr lang="en-US" altLang="zh-CN" sz="1600" dirty="0"/>
                <a:t>app</a:t>
              </a:r>
              <a:r>
                <a:rPr lang="en-US" altLang="zh-CN" sz="1600" dirty="0" smtClean="0"/>
                <a:t>/</a:t>
              </a:r>
              <a:endParaRPr lang="zh-CN" altLang="en-US" sz="1600" dirty="0"/>
            </a:p>
          </p:txBody>
        </p:sp>
      </p:grpSp>
      <p:grpSp>
        <p:nvGrpSpPr>
          <p:cNvPr id="74" name="组合 73"/>
          <p:cNvGrpSpPr/>
          <p:nvPr/>
        </p:nvGrpSpPr>
        <p:grpSpPr>
          <a:xfrm>
            <a:off x="3380510" y="4953438"/>
            <a:ext cx="1004510" cy="669673"/>
            <a:chOff x="3050830" y="938084"/>
            <a:chExt cx="1004510" cy="669673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75" name="圆角矩形 74"/>
            <p:cNvSpPr/>
            <p:nvPr/>
          </p:nvSpPr>
          <p:spPr>
            <a:xfrm>
              <a:off x="3050830" y="938084"/>
              <a:ext cx="1004510" cy="669673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</p:sp>
        <p:sp>
          <p:nvSpPr>
            <p:cNvPr id="76" name="圆角矩形 8"/>
            <p:cNvSpPr/>
            <p:nvPr/>
          </p:nvSpPr>
          <p:spPr>
            <a:xfrm>
              <a:off x="3070444" y="957698"/>
              <a:ext cx="965282" cy="630445"/>
            </a:xfrm>
            <a:prstGeom prst="rect">
              <a:avLst/>
            </a:prstGeom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60960" tIns="60960" rIns="60960" bIns="60960" spcCol="1270" anchor="ctr"/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altLang="zh-CN" sz="1600" dirty="0"/>
                <a:t>~/Report/</a:t>
              </a:r>
              <a:endParaRPr lang="zh-CN" altLang="en-US" sz="1600" dirty="0"/>
            </a:p>
          </p:txBody>
        </p:sp>
      </p:grpSp>
      <p:grpSp>
        <p:nvGrpSpPr>
          <p:cNvPr id="77" name="组合 76"/>
          <p:cNvGrpSpPr/>
          <p:nvPr/>
        </p:nvGrpSpPr>
        <p:grpSpPr>
          <a:xfrm>
            <a:off x="4580357" y="4953438"/>
            <a:ext cx="1171088" cy="669673"/>
            <a:chOff x="4356693" y="938084"/>
            <a:chExt cx="1004510" cy="669673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78" name="圆角矩形 77"/>
            <p:cNvSpPr/>
            <p:nvPr/>
          </p:nvSpPr>
          <p:spPr>
            <a:xfrm>
              <a:off x="4356693" y="938084"/>
              <a:ext cx="1004510" cy="669673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</p:sp>
        <p:sp>
          <p:nvSpPr>
            <p:cNvPr id="79" name="圆角矩形 10"/>
            <p:cNvSpPr/>
            <p:nvPr/>
          </p:nvSpPr>
          <p:spPr>
            <a:xfrm>
              <a:off x="4376307" y="957698"/>
              <a:ext cx="965282" cy="630445"/>
            </a:xfrm>
            <a:prstGeom prst="rect">
              <a:avLst/>
            </a:prstGeom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60960" tIns="60960" rIns="60960" bIns="60960" spcCol="1270" anchor="ctr"/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altLang="zh-CN" sz="1600" dirty="0"/>
                <a:t>~/Service/</a:t>
              </a:r>
              <a:endParaRPr lang="zh-CN" altLang="en-US" sz="1600" dirty="0"/>
            </a:p>
          </p:txBody>
        </p:sp>
      </p:grpSp>
      <p:grpSp>
        <p:nvGrpSpPr>
          <p:cNvPr id="80" name="组合 79"/>
          <p:cNvGrpSpPr/>
          <p:nvPr/>
        </p:nvGrpSpPr>
        <p:grpSpPr>
          <a:xfrm>
            <a:off x="5978984" y="4953438"/>
            <a:ext cx="1004510" cy="669673"/>
            <a:chOff x="5662556" y="938084"/>
            <a:chExt cx="1004510" cy="669673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81" name="圆角矩形 80"/>
            <p:cNvSpPr/>
            <p:nvPr/>
          </p:nvSpPr>
          <p:spPr>
            <a:xfrm>
              <a:off x="5662556" y="938084"/>
              <a:ext cx="1004510" cy="669673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</p:sp>
        <p:sp>
          <p:nvSpPr>
            <p:cNvPr id="82" name="圆角矩形 12"/>
            <p:cNvSpPr/>
            <p:nvPr/>
          </p:nvSpPr>
          <p:spPr>
            <a:xfrm>
              <a:off x="5682170" y="957698"/>
              <a:ext cx="965282" cy="630445"/>
            </a:xfrm>
            <a:prstGeom prst="rect">
              <a:avLst/>
            </a:prstGeom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lIns="60960" tIns="60960" rIns="60960" bIns="60960" spcCol="1270" anchor="ctr"/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altLang="zh-CN" sz="1600" dirty="0"/>
                <a:t>~/Host/</a:t>
              </a:r>
              <a:endParaRPr lang="zh-CN" altLang="en-US" sz="1600" dirty="0"/>
            </a:p>
          </p:txBody>
        </p:sp>
      </p:grpSp>
      <p:sp>
        <p:nvSpPr>
          <p:cNvPr id="7" name="圆角矩形 6"/>
          <p:cNvSpPr/>
          <p:nvPr/>
        </p:nvSpPr>
        <p:spPr>
          <a:xfrm>
            <a:off x="7620000" y="1536700"/>
            <a:ext cx="2200275" cy="755650"/>
          </a:xfrm>
          <a:prstGeom prst="round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业务系统及子系统</a:t>
            </a:r>
          </a:p>
        </p:txBody>
      </p:sp>
      <p:sp>
        <p:nvSpPr>
          <p:cNvPr id="83" name="圆角矩形 82"/>
          <p:cNvSpPr/>
          <p:nvPr/>
        </p:nvSpPr>
        <p:spPr>
          <a:xfrm>
            <a:off x="7607300" y="3324225"/>
            <a:ext cx="2198688" cy="754063"/>
          </a:xfrm>
          <a:prstGeom prst="round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altLang="zh-CN" sz="2000" dirty="0" err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Mvc</a:t>
            </a:r>
            <a:r>
              <a: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的代码结构</a:t>
            </a:r>
          </a:p>
        </p:txBody>
      </p:sp>
      <p:sp>
        <p:nvSpPr>
          <p:cNvPr id="84" name="圆角矩形 83"/>
          <p:cNvSpPr/>
          <p:nvPr/>
        </p:nvSpPr>
        <p:spPr>
          <a:xfrm>
            <a:off x="7607300" y="4910138"/>
            <a:ext cx="2198688" cy="755650"/>
          </a:xfrm>
          <a:prstGeom prst="round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altLang="zh-CN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URL</a:t>
            </a:r>
            <a:endParaRPr lang="zh-CN" altLang="en-US" sz="20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85" name="下箭头 84"/>
          <p:cNvSpPr/>
          <p:nvPr/>
        </p:nvSpPr>
        <p:spPr>
          <a:xfrm>
            <a:off x="8554276" y="2464905"/>
            <a:ext cx="304800" cy="755373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zh-CN" alt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6" name="下箭头 85"/>
          <p:cNvSpPr/>
          <p:nvPr/>
        </p:nvSpPr>
        <p:spPr>
          <a:xfrm>
            <a:off x="8567525" y="4178183"/>
            <a:ext cx="304800" cy="755373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zh-CN" alt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  <p:bldP spid="40" grpId="0" animBg="1"/>
      <p:bldP spid="62" grpId="0" animBg="1"/>
      <p:bldP spid="87" grpId="0" animBg="1"/>
      <p:bldP spid="88" grpId="0" animBg="1"/>
      <p:bldP spid="89" grpId="0" animBg="1"/>
      <p:bldP spid="90" grpId="0" animBg="1"/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Box 5"/>
          <p:cNvSpPr txBox="1">
            <a:spLocks noChangeArrowheads="1"/>
          </p:cNvSpPr>
          <p:nvPr/>
        </p:nvSpPr>
        <p:spPr bwMode="auto">
          <a:xfrm>
            <a:off x="531813" y="231775"/>
            <a:ext cx="4622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实体代码结构</a:t>
            </a:r>
            <a:r>
              <a:rPr lang="en-US" altLang="zh-CN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—</a:t>
            </a:r>
            <a:r>
              <a:rPr lang="zh-CN" altLang="en-US" sz="2000" b="1">
                <a:solidFill>
                  <a:srgbClr val="323255"/>
                </a:solidFill>
                <a:ea typeface="华文楷体" pitchFamily="2" charset="-122"/>
                <a:cs typeface="Arial" charset="0"/>
              </a:rPr>
              <a:t>以业务为导向</a:t>
            </a:r>
            <a:endParaRPr lang="en-US" altLang="zh-CN" sz="2000" b="1">
              <a:solidFill>
                <a:srgbClr val="323255"/>
              </a:solidFill>
              <a:ea typeface="华文楷体" pitchFamily="2" charset="-122"/>
              <a:cs typeface="Arial" charset="0"/>
            </a:endParaRPr>
          </a:p>
        </p:txBody>
      </p:sp>
      <p:grpSp>
        <p:nvGrpSpPr>
          <p:cNvPr id="25603" name="组合 1"/>
          <p:cNvGrpSpPr>
            <a:grpSpLocks/>
          </p:cNvGrpSpPr>
          <p:nvPr/>
        </p:nvGrpSpPr>
        <p:grpSpPr bwMode="auto">
          <a:xfrm>
            <a:off x="160338" y="814388"/>
            <a:ext cx="9658350" cy="5167312"/>
            <a:chOff x="147638" y="814388"/>
            <a:chExt cx="9658350" cy="5167312"/>
          </a:xfrm>
        </p:grpSpPr>
        <p:sp>
          <p:nvSpPr>
            <p:cNvPr id="61" name="圆角矩形 60"/>
            <p:cNvSpPr/>
            <p:nvPr/>
          </p:nvSpPr>
          <p:spPr>
            <a:xfrm>
              <a:off x="173038" y="3101975"/>
              <a:ext cx="7234237" cy="1257300"/>
            </a:xfrm>
            <a:prstGeom prst="roundRect">
              <a:avLst>
                <a:gd name="adj" fmla="val 7853"/>
              </a:avLst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eaVert" lIns="0" tIns="0" rIns="0" bIns="0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>
                <a:defRPr/>
              </a:pPr>
              <a:endParaRPr lang="zh-CN" altLang="en-US" sz="2000" b="1" spc="50" dirty="0">
                <a:ln w="11430"/>
                <a:solidFill>
                  <a:srgbClr val="003F56"/>
                </a:solidFill>
                <a:effectLst>
                  <a:glow rad="101600">
                    <a:schemeClr val="accent4">
                      <a:satMod val="175000"/>
                      <a:alpha val="40000"/>
                    </a:schemeClr>
                  </a:glow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endParaRPr>
            </a:p>
          </p:txBody>
        </p:sp>
        <p:sp>
          <p:nvSpPr>
            <p:cNvPr id="40" name="圆角矩形 39"/>
            <p:cNvSpPr/>
            <p:nvPr/>
          </p:nvSpPr>
          <p:spPr>
            <a:xfrm>
              <a:off x="147638" y="814388"/>
              <a:ext cx="7259637" cy="2133600"/>
            </a:xfrm>
            <a:prstGeom prst="roundRect">
              <a:avLst>
                <a:gd name="adj" fmla="val 7853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eaVert" lIns="0" tIns="0" rIns="0" bIns="0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>
                <a:defRPr/>
              </a:pPr>
              <a:endParaRPr lang="zh-CN" altLang="en-US" sz="2000" b="1" spc="50" dirty="0">
                <a:ln w="11430"/>
                <a:solidFill>
                  <a:srgbClr val="003F56"/>
                </a:solidFill>
                <a:effectLst>
                  <a:glow rad="101600">
                    <a:schemeClr val="accent4">
                      <a:satMod val="175000"/>
                      <a:alpha val="40000"/>
                    </a:schemeClr>
                  </a:glow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endParaRPr>
            </a:p>
          </p:txBody>
        </p:sp>
        <p:graphicFrame>
          <p:nvGraphicFramePr>
            <p:cNvPr id="3" name="图示 2"/>
            <p:cNvGraphicFramePr/>
            <p:nvPr>
              <p:extLst>
                <p:ext uri="{D42A27DB-BD31-4B8C-83A1-F6EECF244321}">
                  <p14:modId xmlns:p14="http://schemas.microsoft.com/office/powerpoint/2010/main" xmlns="" val="1982088279"/>
                </p:ext>
              </p:extLst>
            </p:nvPr>
          </p:nvGraphicFramePr>
          <p:xfrm>
            <a:off x="251792" y="909614"/>
            <a:ext cx="7106171" cy="160829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4" name="下箭头 3"/>
            <p:cNvSpPr/>
            <p:nvPr/>
          </p:nvSpPr>
          <p:spPr>
            <a:xfrm>
              <a:off x="1119125" y="2570924"/>
              <a:ext cx="304800" cy="755372"/>
            </a:xfrm>
            <a:prstGeom prst="downArrow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zh-CN" altLang="en-US" sz="13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41" name="下箭头 40"/>
            <p:cNvSpPr/>
            <p:nvPr/>
          </p:nvSpPr>
          <p:spPr>
            <a:xfrm>
              <a:off x="2366562" y="2570924"/>
              <a:ext cx="304800" cy="755373"/>
            </a:xfrm>
            <a:prstGeom prst="downArrow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zh-CN" altLang="en-US" sz="13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42" name="下箭头 41"/>
            <p:cNvSpPr/>
            <p:nvPr/>
          </p:nvSpPr>
          <p:spPr>
            <a:xfrm>
              <a:off x="3671377" y="2570924"/>
              <a:ext cx="304800" cy="755373"/>
            </a:xfrm>
            <a:prstGeom prst="downArrow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zh-CN" altLang="en-US" sz="13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43" name="下箭头 42"/>
            <p:cNvSpPr/>
            <p:nvPr/>
          </p:nvSpPr>
          <p:spPr>
            <a:xfrm>
              <a:off x="4950354" y="2590803"/>
              <a:ext cx="304800" cy="755373"/>
            </a:xfrm>
            <a:prstGeom prst="downArrow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zh-CN" altLang="en-US" sz="13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44" name="下箭头 43"/>
            <p:cNvSpPr/>
            <p:nvPr/>
          </p:nvSpPr>
          <p:spPr>
            <a:xfrm>
              <a:off x="6324294" y="2570922"/>
              <a:ext cx="304800" cy="755373"/>
            </a:xfrm>
            <a:prstGeom prst="downArrow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zh-CN" altLang="en-US" sz="13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grpSp>
          <p:nvGrpSpPr>
            <p:cNvPr id="46" name="组合 45"/>
            <p:cNvGrpSpPr/>
            <p:nvPr/>
          </p:nvGrpSpPr>
          <p:grpSpPr>
            <a:xfrm>
              <a:off x="749170" y="3428999"/>
              <a:ext cx="1004510" cy="669673"/>
              <a:chOff x="439104" y="938084"/>
              <a:chExt cx="1004510" cy="669673"/>
            </a:xfrm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59" name="圆角矩形 58"/>
              <p:cNvSpPr/>
              <p:nvPr/>
            </p:nvSpPr>
            <p:spPr>
              <a:xfrm>
                <a:off x="439104" y="938084"/>
                <a:ext cx="1004510" cy="669673"/>
              </a:xfrm>
              <a:prstGeom prst="roundRect">
                <a:avLst>
                  <a:gd name="adj" fmla="val 10000"/>
                </a:avLst>
              </a:prstGeom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</p:sp>
          <p:sp>
            <p:nvSpPr>
              <p:cNvPr id="60" name="圆角矩形 4"/>
              <p:cNvSpPr/>
              <p:nvPr/>
            </p:nvSpPr>
            <p:spPr>
              <a:xfrm>
                <a:off x="458718" y="957698"/>
                <a:ext cx="965282" cy="630445"/>
              </a:xfrm>
              <a:prstGeom prst="rect">
                <a:avLst/>
              </a:prstGeom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lIns="60960" tIns="60960" rIns="60960" bIns="60960" spcCol="1270" anchor="ctr"/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zh-CN" altLang="en-US" sz="1600" dirty="0"/>
                  <a:t>系统组</a:t>
                </a:r>
              </a:p>
            </p:txBody>
          </p:sp>
        </p:grpSp>
        <p:grpSp>
          <p:nvGrpSpPr>
            <p:cNvPr id="47" name="组合 46"/>
            <p:cNvGrpSpPr/>
            <p:nvPr/>
          </p:nvGrpSpPr>
          <p:grpSpPr>
            <a:xfrm>
              <a:off x="2036242" y="3428999"/>
              <a:ext cx="1004510" cy="669673"/>
              <a:chOff x="1744967" y="938084"/>
              <a:chExt cx="1004510" cy="669673"/>
            </a:xfrm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57" name="圆角矩形 56"/>
              <p:cNvSpPr/>
              <p:nvPr/>
            </p:nvSpPr>
            <p:spPr>
              <a:xfrm>
                <a:off x="1744967" y="938084"/>
                <a:ext cx="1004510" cy="669673"/>
              </a:xfrm>
              <a:prstGeom prst="roundRect">
                <a:avLst>
                  <a:gd name="adj" fmla="val 10000"/>
                </a:avLst>
              </a:prstGeom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</p:sp>
          <p:sp>
            <p:nvSpPr>
              <p:cNvPr id="58" name="圆角矩形 6"/>
              <p:cNvSpPr/>
              <p:nvPr/>
            </p:nvSpPr>
            <p:spPr>
              <a:xfrm>
                <a:off x="1764581" y="957698"/>
                <a:ext cx="965282" cy="630445"/>
              </a:xfrm>
              <a:prstGeom prst="rect">
                <a:avLst/>
              </a:prstGeom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lIns="60960" tIns="60960" rIns="60960" bIns="60960" spcCol="1270" anchor="ctr"/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zh-CN" altLang="en-US" sz="1600" dirty="0"/>
                  <a:t>应用组</a:t>
                </a:r>
              </a:p>
            </p:txBody>
          </p:sp>
        </p:grpSp>
        <p:grpSp>
          <p:nvGrpSpPr>
            <p:cNvPr id="48" name="组合 47"/>
            <p:cNvGrpSpPr/>
            <p:nvPr/>
          </p:nvGrpSpPr>
          <p:grpSpPr>
            <a:xfrm>
              <a:off x="3347644" y="3428999"/>
              <a:ext cx="1004510" cy="669673"/>
              <a:chOff x="3050830" y="938084"/>
              <a:chExt cx="1004510" cy="669673"/>
            </a:xfrm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55" name="圆角矩形 54"/>
              <p:cNvSpPr/>
              <p:nvPr/>
            </p:nvSpPr>
            <p:spPr>
              <a:xfrm>
                <a:off x="3050830" y="938084"/>
                <a:ext cx="1004510" cy="669673"/>
              </a:xfrm>
              <a:prstGeom prst="roundRect">
                <a:avLst>
                  <a:gd name="adj" fmla="val 10000"/>
                </a:avLst>
              </a:prstGeom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</p:sp>
          <p:sp>
            <p:nvSpPr>
              <p:cNvPr id="56" name="圆角矩形 8"/>
              <p:cNvSpPr/>
              <p:nvPr/>
            </p:nvSpPr>
            <p:spPr>
              <a:xfrm>
                <a:off x="3070444" y="957698"/>
                <a:ext cx="965282" cy="630445"/>
              </a:xfrm>
              <a:prstGeom prst="rect">
                <a:avLst/>
              </a:prstGeom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lIns="60960" tIns="60960" rIns="60960" bIns="60960" spcCol="1270" anchor="ctr"/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zh-CN" altLang="en-US" sz="1600" dirty="0"/>
                  <a:t>参数组</a:t>
                </a:r>
              </a:p>
            </p:txBody>
          </p:sp>
        </p:grpSp>
        <p:grpSp>
          <p:nvGrpSpPr>
            <p:cNvPr id="49" name="组合 48"/>
            <p:cNvGrpSpPr/>
            <p:nvPr/>
          </p:nvGrpSpPr>
          <p:grpSpPr>
            <a:xfrm>
              <a:off x="4666759" y="3428999"/>
              <a:ext cx="1004510" cy="669673"/>
              <a:chOff x="4356693" y="938084"/>
              <a:chExt cx="1004510" cy="669673"/>
            </a:xfrm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53" name="圆角矩形 52"/>
              <p:cNvSpPr/>
              <p:nvPr/>
            </p:nvSpPr>
            <p:spPr>
              <a:xfrm>
                <a:off x="4356693" y="938084"/>
                <a:ext cx="1004510" cy="669673"/>
              </a:xfrm>
              <a:prstGeom prst="roundRect">
                <a:avLst>
                  <a:gd name="adj" fmla="val 10000"/>
                </a:avLst>
              </a:prstGeom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</p:sp>
          <p:sp>
            <p:nvSpPr>
              <p:cNvPr id="54" name="圆角矩形 10"/>
              <p:cNvSpPr/>
              <p:nvPr/>
            </p:nvSpPr>
            <p:spPr>
              <a:xfrm>
                <a:off x="4376307" y="957698"/>
                <a:ext cx="965282" cy="630445"/>
              </a:xfrm>
              <a:prstGeom prst="rect">
                <a:avLst/>
              </a:prstGeom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lIns="60960" tIns="60960" rIns="60960" bIns="60960" spcCol="1270" anchor="ctr"/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zh-CN" altLang="en-US" sz="1600" dirty="0"/>
                  <a:t>报表组</a:t>
                </a:r>
              </a:p>
            </p:txBody>
          </p:sp>
        </p:grpSp>
        <p:grpSp>
          <p:nvGrpSpPr>
            <p:cNvPr id="50" name="组合 49"/>
            <p:cNvGrpSpPr/>
            <p:nvPr/>
          </p:nvGrpSpPr>
          <p:grpSpPr>
            <a:xfrm>
              <a:off x="5999126" y="3428999"/>
              <a:ext cx="1004510" cy="669673"/>
              <a:chOff x="5662556" y="938084"/>
              <a:chExt cx="1004510" cy="669673"/>
            </a:xfrm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51" name="圆角矩形 50"/>
              <p:cNvSpPr/>
              <p:nvPr/>
            </p:nvSpPr>
            <p:spPr>
              <a:xfrm>
                <a:off x="5662556" y="938084"/>
                <a:ext cx="1004510" cy="669673"/>
              </a:xfrm>
              <a:prstGeom prst="roundRect">
                <a:avLst>
                  <a:gd name="adj" fmla="val 10000"/>
                </a:avLst>
              </a:prstGeom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</p:sp>
          <p:sp>
            <p:nvSpPr>
              <p:cNvPr id="52" name="圆角矩形 12"/>
              <p:cNvSpPr/>
              <p:nvPr/>
            </p:nvSpPr>
            <p:spPr>
              <a:xfrm>
                <a:off x="5682170" y="957698"/>
                <a:ext cx="965282" cy="630445"/>
              </a:xfrm>
              <a:prstGeom prst="rect">
                <a:avLst/>
              </a:prstGeom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lIns="60960" tIns="60960" rIns="60960" bIns="60960" spcCol="1270" anchor="ctr"/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zh-CN" altLang="en-US" sz="1600" dirty="0"/>
                  <a:t>接口组</a:t>
                </a:r>
              </a:p>
            </p:txBody>
          </p:sp>
        </p:grpSp>
        <p:sp>
          <p:nvSpPr>
            <p:cNvPr id="62" name="圆角矩形 61"/>
            <p:cNvSpPr/>
            <p:nvPr/>
          </p:nvSpPr>
          <p:spPr>
            <a:xfrm>
              <a:off x="147638" y="4611688"/>
              <a:ext cx="7259637" cy="1370012"/>
            </a:xfrm>
            <a:prstGeom prst="roundRect">
              <a:avLst>
                <a:gd name="adj" fmla="val 7853"/>
              </a:avLst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vert="eaVert" lIns="0" tIns="0" rIns="0" bIns="0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>
                <a:defRPr/>
              </a:pPr>
              <a:endParaRPr lang="zh-CN" altLang="en-US" sz="2000" b="1" spc="50" dirty="0">
                <a:ln w="11430"/>
                <a:solidFill>
                  <a:srgbClr val="003F56"/>
                </a:solidFill>
                <a:effectLst>
                  <a:glow rad="101600">
                    <a:schemeClr val="accent4">
                      <a:satMod val="175000"/>
                      <a:alpha val="40000"/>
                    </a:schemeClr>
                  </a:glow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endParaRPr>
            </a:p>
          </p:txBody>
        </p:sp>
        <p:sp>
          <p:nvSpPr>
            <p:cNvPr id="63" name="下箭头 62"/>
            <p:cNvSpPr/>
            <p:nvPr/>
          </p:nvSpPr>
          <p:spPr>
            <a:xfrm rot="2700000">
              <a:off x="1658236" y="4178187"/>
              <a:ext cx="304800" cy="755372"/>
            </a:xfrm>
            <a:prstGeom prst="downArrow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zh-CN" altLang="en-US" sz="13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64" name="下箭头 63"/>
            <p:cNvSpPr/>
            <p:nvPr/>
          </p:nvSpPr>
          <p:spPr>
            <a:xfrm>
              <a:off x="2365878" y="4178186"/>
              <a:ext cx="304800" cy="755373"/>
            </a:xfrm>
            <a:prstGeom prst="downArrow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zh-CN" altLang="en-US" sz="13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65" name="下箭头 64"/>
            <p:cNvSpPr/>
            <p:nvPr/>
          </p:nvSpPr>
          <p:spPr>
            <a:xfrm rot="18900000">
              <a:off x="3144859" y="4152834"/>
              <a:ext cx="304800" cy="755373"/>
            </a:xfrm>
            <a:prstGeom prst="downArrow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zh-CN" altLang="en-US" sz="13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66" name="下箭头 65"/>
            <p:cNvSpPr/>
            <p:nvPr/>
          </p:nvSpPr>
          <p:spPr>
            <a:xfrm>
              <a:off x="5043118" y="4198065"/>
              <a:ext cx="304800" cy="755373"/>
            </a:xfrm>
            <a:prstGeom prst="downArrow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zh-CN" altLang="en-US" sz="13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67" name="下箭头 66"/>
            <p:cNvSpPr/>
            <p:nvPr/>
          </p:nvSpPr>
          <p:spPr>
            <a:xfrm rot="18900000">
              <a:off x="5797067" y="4098671"/>
              <a:ext cx="304800" cy="755373"/>
            </a:xfrm>
            <a:prstGeom prst="downArrow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zh-CN" altLang="en-US" sz="13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grpSp>
          <p:nvGrpSpPr>
            <p:cNvPr id="68" name="组合 67"/>
            <p:cNvGrpSpPr/>
            <p:nvPr/>
          </p:nvGrpSpPr>
          <p:grpSpPr>
            <a:xfrm>
              <a:off x="531813" y="4953438"/>
              <a:ext cx="1416257" cy="669673"/>
              <a:chOff x="439104" y="938084"/>
              <a:chExt cx="1004510" cy="669673"/>
            </a:xfrm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69" name="圆角矩形 68"/>
              <p:cNvSpPr/>
              <p:nvPr/>
            </p:nvSpPr>
            <p:spPr>
              <a:xfrm>
                <a:off x="439104" y="938084"/>
                <a:ext cx="1004510" cy="669673"/>
              </a:xfrm>
              <a:prstGeom prst="roundRect">
                <a:avLst>
                  <a:gd name="adj" fmla="val 10000"/>
                </a:avLst>
              </a:prstGeom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</p:sp>
          <p:sp>
            <p:nvSpPr>
              <p:cNvPr id="70" name="圆角矩形 4"/>
              <p:cNvSpPr/>
              <p:nvPr/>
            </p:nvSpPr>
            <p:spPr>
              <a:xfrm>
                <a:off x="458718" y="957698"/>
                <a:ext cx="965282" cy="630445"/>
              </a:xfrm>
              <a:prstGeom prst="rect">
                <a:avLst/>
              </a:prstGeom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60960" tIns="60960" rIns="60960" bIns="60960" spcCol="1270" anchor="ctr"/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zh-CN" altLang="en-US" sz="1600" dirty="0"/>
                  <a:t>接待表实体</a:t>
                </a:r>
              </a:p>
            </p:txBody>
          </p:sp>
        </p:grpSp>
        <p:grpSp>
          <p:nvGrpSpPr>
            <p:cNvPr id="71" name="组合 70"/>
            <p:cNvGrpSpPr/>
            <p:nvPr/>
          </p:nvGrpSpPr>
          <p:grpSpPr>
            <a:xfrm>
              <a:off x="1837676" y="4953438"/>
              <a:ext cx="1416257" cy="669673"/>
              <a:chOff x="1744967" y="938084"/>
              <a:chExt cx="1004510" cy="669673"/>
            </a:xfrm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72" name="圆角矩形 71"/>
              <p:cNvSpPr/>
              <p:nvPr/>
            </p:nvSpPr>
            <p:spPr>
              <a:xfrm>
                <a:off x="1744967" y="938084"/>
                <a:ext cx="1004510" cy="669673"/>
              </a:xfrm>
              <a:prstGeom prst="roundRect">
                <a:avLst>
                  <a:gd name="adj" fmla="val 10000"/>
                </a:avLst>
              </a:prstGeom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</p:sp>
          <p:sp>
            <p:nvSpPr>
              <p:cNvPr id="73" name="圆角矩形 6"/>
              <p:cNvSpPr/>
              <p:nvPr/>
            </p:nvSpPr>
            <p:spPr>
              <a:xfrm>
                <a:off x="1764581" y="957698"/>
                <a:ext cx="965282" cy="630445"/>
              </a:xfrm>
              <a:prstGeom prst="rect">
                <a:avLst/>
              </a:prstGeom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60960" tIns="60960" rIns="60960" bIns="60960" spcCol="1270" anchor="ctr"/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zh-CN" altLang="en-US" sz="1600" dirty="0"/>
                  <a:t>任务表实体</a:t>
                </a:r>
              </a:p>
            </p:txBody>
          </p:sp>
        </p:grpSp>
        <p:grpSp>
          <p:nvGrpSpPr>
            <p:cNvPr id="74" name="组合 73"/>
            <p:cNvGrpSpPr/>
            <p:nvPr/>
          </p:nvGrpSpPr>
          <p:grpSpPr>
            <a:xfrm>
              <a:off x="3143539" y="4953438"/>
              <a:ext cx="1416257" cy="669673"/>
              <a:chOff x="3050830" y="938084"/>
              <a:chExt cx="1004510" cy="669673"/>
            </a:xfrm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75" name="圆角矩形 74"/>
              <p:cNvSpPr/>
              <p:nvPr/>
            </p:nvSpPr>
            <p:spPr>
              <a:xfrm>
                <a:off x="3050830" y="938084"/>
                <a:ext cx="1004510" cy="669673"/>
              </a:xfrm>
              <a:prstGeom prst="roundRect">
                <a:avLst>
                  <a:gd name="adj" fmla="val 10000"/>
                </a:avLst>
              </a:prstGeom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</p:sp>
          <p:sp>
            <p:nvSpPr>
              <p:cNvPr id="76" name="圆角矩形 8"/>
              <p:cNvSpPr/>
              <p:nvPr/>
            </p:nvSpPr>
            <p:spPr>
              <a:xfrm>
                <a:off x="3070444" y="957698"/>
                <a:ext cx="965282" cy="630445"/>
              </a:xfrm>
              <a:prstGeom prst="rect">
                <a:avLst/>
              </a:prstGeom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60960" tIns="60960" rIns="60960" bIns="60960" spcCol="1270" anchor="ctr"/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zh-CN" altLang="en-US" sz="1600" dirty="0"/>
                  <a:t>进程表实体</a:t>
                </a:r>
              </a:p>
            </p:txBody>
          </p:sp>
        </p:grpSp>
        <p:grpSp>
          <p:nvGrpSpPr>
            <p:cNvPr id="77" name="组合 76"/>
            <p:cNvGrpSpPr/>
            <p:nvPr/>
          </p:nvGrpSpPr>
          <p:grpSpPr>
            <a:xfrm>
              <a:off x="4712877" y="4953438"/>
              <a:ext cx="1171088" cy="669673"/>
              <a:chOff x="4356693" y="938084"/>
              <a:chExt cx="1004510" cy="669673"/>
            </a:xfrm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78" name="圆角矩形 77"/>
              <p:cNvSpPr/>
              <p:nvPr/>
            </p:nvSpPr>
            <p:spPr>
              <a:xfrm>
                <a:off x="4356693" y="938084"/>
                <a:ext cx="1004510" cy="669673"/>
              </a:xfrm>
              <a:prstGeom prst="roundRect">
                <a:avLst>
                  <a:gd name="adj" fmla="val 10000"/>
                </a:avLst>
              </a:prstGeom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</p:sp>
          <p:sp>
            <p:nvSpPr>
              <p:cNvPr id="79" name="圆角矩形 10"/>
              <p:cNvSpPr/>
              <p:nvPr/>
            </p:nvSpPr>
            <p:spPr>
              <a:xfrm>
                <a:off x="4376307" y="957698"/>
                <a:ext cx="965282" cy="630445"/>
              </a:xfrm>
              <a:prstGeom prst="rect">
                <a:avLst/>
              </a:prstGeom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60960" tIns="60960" rIns="60960" bIns="60960" spcCol="1270" anchor="ctr"/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zh-CN" altLang="en-US" sz="1600" dirty="0"/>
                  <a:t>。。。</a:t>
                </a:r>
              </a:p>
            </p:txBody>
          </p:sp>
        </p:grpSp>
        <p:grpSp>
          <p:nvGrpSpPr>
            <p:cNvPr id="80" name="组合 79"/>
            <p:cNvGrpSpPr/>
            <p:nvPr/>
          </p:nvGrpSpPr>
          <p:grpSpPr>
            <a:xfrm>
              <a:off x="6018740" y="4953438"/>
              <a:ext cx="1004510" cy="669673"/>
              <a:chOff x="5662556" y="938084"/>
              <a:chExt cx="1004510" cy="669673"/>
            </a:xfrm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81" name="圆角矩形 80"/>
              <p:cNvSpPr/>
              <p:nvPr/>
            </p:nvSpPr>
            <p:spPr>
              <a:xfrm>
                <a:off x="5662556" y="938084"/>
                <a:ext cx="1004510" cy="669673"/>
              </a:xfrm>
              <a:prstGeom prst="roundRect">
                <a:avLst>
                  <a:gd name="adj" fmla="val 10000"/>
                </a:avLst>
              </a:prstGeom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</p:sp>
          <p:sp>
            <p:nvSpPr>
              <p:cNvPr id="82" name="圆角矩形 12"/>
              <p:cNvSpPr/>
              <p:nvPr/>
            </p:nvSpPr>
            <p:spPr>
              <a:xfrm>
                <a:off x="5682170" y="957698"/>
                <a:ext cx="965282" cy="630445"/>
              </a:xfrm>
              <a:prstGeom prst="rect">
                <a:avLst/>
              </a:prstGeom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lIns="60960" tIns="60960" rIns="60960" bIns="60960" spcCol="1270" anchor="ctr"/>
              <a:lstStyle/>
              <a:p>
                <a:pPr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zh-CN" altLang="en-US" sz="1600" dirty="0"/>
                  <a:t>。。。</a:t>
                </a:r>
              </a:p>
            </p:txBody>
          </p:sp>
        </p:grpSp>
        <p:sp>
          <p:nvSpPr>
            <p:cNvPr id="7" name="圆角矩形 6"/>
            <p:cNvSpPr/>
            <p:nvPr/>
          </p:nvSpPr>
          <p:spPr>
            <a:xfrm>
              <a:off x="7607300" y="1663700"/>
              <a:ext cx="2198688" cy="754063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r>
                <a:rPr lang="zh-CN" altLang="en-US" sz="20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rPr>
                <a:t>业务</a:t>
              </a:r>
              <a:r>
                <a:rPr lang="zh-CN" altLang="en-US" sz="2000" dirty="0" smtClean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rPr>
                <a:t>模块（设计）</a:t>
              </a:r>
              <a:endPara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endParaRPr>
            </a:p>
          </p:txBody>
        </p:sp>
        <p:sp>
          <p:nvSpPr>
            <p:cNvPr id="83" name="圆角矩形 82"/>
            <p:cNvSpPr/>
            <p:nvPr/>
          </p:nvSpPr>
          <p:spPr>
            <a:xfrm>
              <a:off x="7607300" y="3324225"/>
              <a:ext cx="2198688" cy="754063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r>
                <a:rPr lang="zh-CN" altLang="en-US" sz="2000" dirty="0" smtClean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rPr>
                <a:t>数据模块（</a:t>
              </a:r>
              <a:r>
                <a:rPr lang="en-US" altLang="zh-CN" sz="2000" dirty="0" smtClean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rPr>
                <a:t>DBA</a:t>
              </a:r>
              <a:r>
                <a:rPr lang="zh-CN" altLang="en-US" sz="2000" dirty="0" smtClean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rPr>
                <a:t>）</a:t>
              </a:r>
              <a:endPara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endParaRPr>
            </a:p>
          </p:txBody>
        </p:sp>
        <p:sp>
          <p:nvSpPr>
            <p:cNvPr id="84" name="圆角矩形 83"/>
            <p:cNvSpPr/>
            <p:nvPr/>
          </p:nvSpPr>
          <p:spPr>
            <a:xfrm>
              <a:off x="7607300" y="5226050"/>
              <a:ext cx="2198688" cy="755650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r>
                <a:rPr lang="zh-CN" altLang="en-US" sz="2000" dirty="0" smtClean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rPr>
                <a:t>实体（开发）</a:t>
              </a:r>
              <a:endPara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endParaRPr>
            </a:p>
          </p:txBody>
        </p:sp>
        <p:sp>
          <p:nvSpPr>
            <p:cNvPr id="85" name="下箭头 84"/>
            <p:cNvSpPr/>
            <p:nvPr/>
          </p:nvSpPr>
          <p:spPr>
            <a:xfrm>
              <a:off x="8554275" y="2568311"/>
              <a:ext cx="304800" cy="755373"/>
            </a:xfrm>
            <a:prstGeom prst="downArrow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zh-CN" altLang="en-US" sz="13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86" name="下箭头 85"/>
            <p:cNvSpPr/>
            <p:nvPr/>
          </p:nvSpPr>
          <p:spPr>
            <a:xfrm>
              <a:off x="8554276" y="4217679"/>
              <a:ext cx="304800" cy="755373"/>
            </a:xfrm>
            <a:prstGeom prst="downArrow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zh-CN" altLang="en-US" sz="13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圆角矩形 63"/>
          <p:cNvSpPr/>
          <p:nvPr/>
        </p:nvSpPr>
        <p:spPr>
          <a:xfrm>
            <a:off x="3036888" y="688975"/>
            <a:ext cx="6738937" cy="5530850"/>
          </a:xfrm>
          <a:prstGeom prst="roundRect">
            <a:avLst>
              <a:gd name="adj" fmla="val 3606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zh-CN" alt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42" name="下箭头 41"/>
          <p:cNvSpPr/>
          <p:nvPr/>
        </p:nvSpPr>
        <p:spPr>
          <a:xfrm>
            <a:off x="3384550" y="846138"/>
            <a:ext cx="2638425" cy="5037137"/>
          </a:xfrm>
          <a:prstGeom prst="downArrow">
            <a:avLst>
              <a:gd name="adj1" fmla="val 50474"/>
              <a:gd name="adj2" fmla="val 59159"/>
            </a:avLst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zh-CN" altLang="en-US" sz="13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6628" name="标题 1"/>
          <p:cNvSpPr>
            <a:spLocks noGrp="1"/>
          </p:cNvSpPr>
          <p:nvPr>
            <p:ph type="title"/>
          </p:nvPr>
        </p:nvSpPr>
        <p:spPr>
          <a:xfrm>
            <a:off x="473075" y="228600"/>
            <a:ext cx="8840788" cy="392113"/>
          </a:xfrm>
        </p:spPr>
        <p:txBody>
          <a:bodyPr/>
          <a:lstStyle/>
          <a:p>
            <a:r>
              <a:rPr lang="zh-CN" altLang="en-US" smtClean="0"/>
              <a:t>技术架构</a:t>
            </a:r>
            <a:r>
              <a:rPr altLang="zh-CN" smtClean="0"/>
              <a:t>— Mvc</a:t>
            </a:r>
            <a:r>
              <a:rPr lang="zh-CN" altLang="en-US" smtClean="0"/>
              <a:t>及扩展 </a:t>
            </a:r>
          </a:p>
        </p:txBody>
      </p:sp>
      <p:pic>
        <p:nvPicPr>
          <p:cNvPr id="26629" name="Picture 5" descr="D:\Program Files (x86)\Microsoft Office\MEDIA\CAGCAT10\j0195384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600075" y="4922838"/>
            <a:ext cx="1081088" cy="1103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直接箭头连接符 5"/>
          <p:cNvCxnSpPr/>
          <p:nvPr/>
        </p:nvCxnSpPr>
        <p:spPr>
          <a:xfrm flipV="1">
            <a:off x="1140938" y="2762027"/>
            <a:ext cx="63500" cy="2160636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26631" name="Picture 9" descr="C:\Users\Administrator\AppData\Local\Microsoft\Windows\Temporary Internet Files\Content.IE5\61B1ZNV9\MC900428971[1]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0075" y="996950"/>
            <a:ext cx="1208088" cy="176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直接箭头连接符 7"/>
          <p:cNvCxnSpPr>
            <a:endCxn id="39" idx="5"/>
          </p:cNvCxnSpPr>
          <p:nvPr/>
        </p:nvCxnSpPr>
        <p:spPr>
          <a:xfrm flipV="1">
            <a:off x="1681482" y="1141761"/>
            <a:ext cx="1702845" cy="100017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0" name="平行四边形 19"/>
          <p:cNvSpPr/>
          <p:nvPr/>
        </p:nvSpPr>
        <p:spPr>
          <a:xfrm>
            <a:off x="3264961" y="1731231"/>
            <a:ext cx="2757892" cy="592583"/>
          </a:xfrm>
          <a:prstGeom prst="parallelogram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Controller</a:t>
            </a:r>
            <a:endParaRPr lang="zh-CN" altLang="en-US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25" name="平行四边形 24"/>
          <p:cNvSpPr/>
          <p:nvPr/>
        </p:nvSpPr>
        <p:spPr>
          <a:xfrm>
            <a:off x="3264961" y="3546053"/>
            <a:ext cx="2757892" cy="592583"/>
          </a:xfrm>
          <a:prstGeom prst="parallelogram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altLang="zh-CN" sz="2400" b="1" spc="50" dirty="0" err="1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ModelBinder</a:t>
            </a:r>
            <a:endParaRPr lang="zh-CN" altLang="en-US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2" name="平行四边形 31"/>
          <p:cNvSpPr/>
          <p:nvPr/>
        </p:nvSpPr>
        <p:spPr>
          <a:xfrm>
            <a:off x="3302539" y="2711146"/>
            <a:ext cx="2757892" cy="592583"/>
          </a:xfrm>
          <a:prstGeom prst="parallelogram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Filter</a:t>
            </a:r>
            <a:endParaRPr lang="zh-CN" altLang="en-US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3" name="平行四边形 32"/>
          <p:cNvSpPr/>
          <p:nvPr/>
        </p:nvSpPr>
        <p:spPr>
          <a:xfrm>
            <a:off x="3302539" y="4479615"/>
            <a:ext cx="2757892" cy="592583"/>
          </a:xfrm>
          <a:prstGeom prst="parallelogram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Action</a:t>
            </a:r>
            <a:endParaRPr lang="zh-CN" altLang="en-US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55" name="平行四边形 54"/>
          <p:cNvSpPr/>
          <p:nvPr/>
        </p:nvSpPr>
        <p:spPr>
          <a:xfrm>
            <a:off x="3264961" y="5405003"/>
            <a:ext cx="2757892" cy="592583"/>
          </a:xfrm>
          <a:prstGeom prst="parallelogram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View</a:t>
            </a:r>
            <a:endParaRPr lang="zh-CN" altLang="en-US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cxnSp>
        <p:nvCxnSpPr>
          <p:cNvPr id="58" name="直接箭头连接符 57"/>
          <p:cNvCxnSpPr>
            <a:stCxn id="55" idx="5"/>
          </p:cNvCxnSpPr>
          <p:nvPr/>
        </p:nvCxnSpPr>
        <p:spPr>
          <a:xfrm flipH="1" flipV="1">
            <a:off x="1681482" y="2272933"/>
            <a:ext cx="1657552" cy="3428362"/>
          </a:xfrm>
          <a:prstGeom prst="straightConnector1">
            <a:avLst/>
          </a:prstGeom>
          <a:ln w="57150">
            <a:prstDash val="solid"/>
            <a:tailEnd type="triangle" w="lg" len="lg"/>
          </a:ln>
          <a:effectLst>
            <a:glow rad="63500">
              <a:schemeClr val="accent5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9" name="平行四边形 38"/>
          <p:cNvSpPr/>
          <p:nvPr/>
        </p:nvSpPr>
        <p:spPr>
          <a:xfrm>
            <a:off x="3310254" y="845469"/>
            <a:ext cx="2757892" cy="592583"/>
          </a:xfrm>
          <a:prstGeom prst="parallelogram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tIns="0" rIns="0" bIns="0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altLang="zh-CN" sz="2400" b="1" spc="50" dirty="0">
                <a:ln w="11430"/>
                <a:solidFill>
                  <a:srgbClr val="003F56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Route</a:t>
            </a:r>
            <a:endParaRPr lang="zh-CN" altLang="en-US" sz="2400" b="1" spc="50" dirty="0">
              <a:ln w="11430"/>
              <a:solidFill>
                <a:srgbClr val="003F56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56" name="圆角矩形 55"/>
          <p:cNvSpPr/>
          <p:nvPr/>
        </p:nvSpPr>
        <p:spPr>
          <a:xfrm>
            <a:off x="7180263" y="896938"/>
            <a:ext cx="2427287" cy="490537"/>
          </a:xfrm>
          <a:prstGeom prst="round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路由到不同子系统</a:t>
            </a:r>
          </a:p>
        </p:txBody>
      </p:sp>
      <p:sp>
        <p:nvSpPr>
          <p:cNvPr id="57" name="圆角矩形 56"/>
          <p:cNvSpPr/>
          <p:nvPr/>
        </p:nvSpPr>
        <p:spPr>
          <a:xfrm>
            <a:off x="7180263" y="1782763"/>
            <a:ext cx="2427287" cy="490537"/>
          </a:xfrm>
          <a:prstGeom prst="round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进入相应模块</a:t>
            </a:r>
          </a:p>
        </p:txBody>
      </p:sp>
      <p:sp>
        <p:nvSpPr>
          <p:cNvPr id="59" name="圆角矩形 58"/>
          <p:cNvSpPr/>
          <p:nvPr/>
        </p:nvSpPr>
        <p:spPr>
          <a:xfrm>
            <a:off x="7180263" y="3546475"/>
            <a:ext cx="2427287" cy="490538"/>
          </a:xfrm>
          <a:prstGeom prst="round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实体绑定</a:t>
            </a:r>
          </a:p>
        </p:txBody>
      </p:sp>
      <p:sp>
        <p:nvSpPr>
          <p:cNvPr id="60" name="圆角矩形 59"/>
          <p:cNvSpPr/>
          <p:nvPr/>
        </p:nvSpPr>
        <p:spPr>
          <a:xfrm>
            <a:off x="7180263" y="2762250"/>
            <a:ext cx="2427287" cy="490538"/>
          </a:xfrm>
          <a:prstGeom prst="round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权限过滤，日志</a:t>
            </a:r>
          </a:p>
        </p:txBody>
      </p:sp>
      <p:sp>
        <p:nvSpPr>
          <p:cNvPr id="62" name="圆角矩形 61"/>
          <p:cNvSpPr/>
          <p:nvPr/>
        </p:nvSpPr>
        <p:spPr>
          <a:xfrm>
            <a:off x="7180263" y="4479925"/>
            <a:ext cx="2427287" cy="490538"/>
          </a:xfrm>
          <a:prstGeom prst="round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业务处理</a:t>
            </a:r>
          </a:p>
        </p:txBody>
      </p:sp>
      <p:sp>
        <p:nvSpPr>
          <p:cNvPr id="63" name="圆角矩形 62"/>
          <p:cNvSpPr/>
          <p:nvPr/>
        </p:nvSpPr>
        <p:spPr>
          <a:xfrm>
            <a:off x="7180263" y="5392738"/>
            <a:ext cx="2427287" cy="490537"/>
          </a:xfrm>
          <a:prstGeom prst="round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返回内容</a:t>
            </a:r>
          </a:p>
        </p:txBody>
      </p:sp>
      <p:cxnSp>
        <p:nvCxnSpPr>
          <p:cNvPr id="66" name="直接连接符 65"/>
          <p:cNvCxnSpPr/>
          <p:nvPr/>
        </p:nvCxnSpPr>
        <p:spPr>
          <a:xfrm>
            <a:off x="6592888" y="896938"/>
            <a:ext cx="0" cy="498633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1"/>
          </p:nvPr>
        </p:nvSpPr>
        <p:spPr>
          <a:xfrm>
            <a:off x="976313" y="712788"/>
            <a:ext cx="6891337" cy="342900"/>
          </a:xfrm>
        </p:spPr>
        <p:txBody>
          <a:bodyPr/>
          <a:lstStyle/>
          <a:p>
            <a:pPr marL="0" indent="0" eaLnBrk="1" hangingPunct="1">
              <a:defRPr/>
            </a:pPr>
            <a:r>
              <a:rPr lang="zh-CN" altLang="en-US"/>
              <a:t>技术架构主要方面</a:t>
            </a:r>
          </a:p>
        </p:txBody>
      </p:sp>
      <p:graphicFrame>
        <p:nvGraphicFramePr>
          <p:cNvPr id="2" name="图示 1"/>
          <p:cNvGraphicFramePr/>
          <p:nvPr/>
        </p:nvGraphicFramePr>
        <p:xfrm>
          <a:off x="1955800" y="1746739"/>
          <a:ext cx="5289062" cy="2476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1"/>
          </p:nvPr>
        </p:nvSpPr>
        <p:spPr>
          <a:xfrm>
            <a:off x="976313" y="712788"/>
            <a:ext cx="6891337" cy="342900"/>
          </a:xfrm>
        </p:spPr>
        <p:txBody>
          <a:bodyPr/>
          <a:lstStyle/>
          <a:p>
            <a:pPr marL="0" indent="0" eaLnBrk="1" hangingPunct="1">
              <a:defRPr/>
            </a:pPr>
            <a:r>
              <a:rPr lang="zh-CN" altLang="en-US"/>
              <a:t>技术架构主要方面</a:t>
            </a:r>
          </a:p>
        </p:txBody>
      </p:sp>
      <p:graphicFrame>
        <p:nvGraphicFramePr>
          <p:cNvPr id="2" name="图示 1"/>
          <p:cNvGraphicFramePr/>
          <p:nvPr/>
        </p:nvGraphicFramePr>
        <p:xfrm>
          <a:off x="1955800" y="1746739"/>
          <a:ext cx="5289062" cy="2476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LJeyMa6UetMvw1iuDGW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v7OWy_EypaGDbhUGBb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hT9hYsCkyl5IJoaPn4i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WexHF65UeAFD25T6GYY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IdoDVj5ESCzIDRlTJCj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Vcox_3mEeyQTwEXX.8P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KAbFJlakOf2_2GFYmTc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JWOXVpkaaXFU9Iij2G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tpAzSFSEyUz1EqjAGQk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QQScNTc0O54aWrwSvuR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v7OWy_EypaGDbhUGBb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zyeD8E2kCimV4i3g4DL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x527A5ukOj2lfemHHQ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v7OWy_EypaGDbhUGBb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IdoDVj5ESCzIDRlTJCj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Vcox_3mEeyQTwEXX.8P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KAbFJlakOf2_2GFYmTc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JWOXVpkaaXFU9Iij2G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tpAzSFSEyUz1EqjAGQk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QQScNTc0O54aWrwSvuR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v7OWy_EypaGDbhUGBb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zik189TX0CHeLNCvqdpG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u9O3Wv3kCG6.P_qjA2S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IdoDVj5ESCzIDRlTJCj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Vcox_3mEeyQTwEXX.8P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KAbFJlakOf2_2GFYmTc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JWOXVpkaaXFU9Iij2G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tpAzSFSEyUz1EqjAGQk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QQScNTc0O54aWrwSvuR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AmNUfc6E6NHTqIOa_XF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v7OWy_EypaGDbhUGBb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Q1n3P87Eu8ClM.NXvTz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3rT7zzkUS_yH.9hadBT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IdoDVj5ESCzIDRlTJCj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Vcox_3mEeyQTwEXX.8P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KAbFJlakOf2_2GFYmTc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JWOXVpkaaXFU9Iij2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IdoDVj5ESCzIDRlTJCj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tpAzSFSEyUz1EqjAGQk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QQScNTc0O54aWrwSvuR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v7OWy_EypaGDbhUGBb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VoNyXgUWwJ58RhF5WB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aqUXESMUmibqrsumyPQ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IdoDVj5ESCzIDRlTJC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Vcox_3mEeyQTwEXX.8P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Vcox_3mEeyQTwEXX.8P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KAbFJlakOf2_2GFYmTc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JWOXVpkaaXFU9Iij2G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tpAzSFSEyUz1EqjAGQk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QQScNTc0O54aWrwSvuR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v7OWy_EypaGDbhUGBb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KAbFJlakOf2_2GFYmTc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O568uolE6Hp3w5pN7nS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KVjr4.pEKbjx68KDUYd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IdoDVj5ESCzIDRlTJCj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Vcox_3mEeyQTwEXX.8P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KAbFJlakOf2_2GFYmTc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JWOXVpkaaXFU9Iij2G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tpAzSFSEyUz1EqjAGQk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QQScNTc0O54aWrwSvuR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JWOXVpkaaXFU9Iij2G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v7OWy_EypaGDbhUGBb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z5Mgeejk.L9wcdZUYnz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DaZvGznE2LaOJkW_6fr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IdoDVj5ESCzIDRlTJCj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Vcox_3mEeyQTwEXX.8P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KAbFJlakOf2_2GFYmTc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JWOXVpkaaXFU9Iij2G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tpAzSFSEyUz1EqjAGQk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tpAzSFSEyUz1EqjAGQk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QQScNTc0O54aWrwSvu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v7OWy_EypaGDbhUGBb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wSCtBvqEyaBba_ulpeG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WlWXJ7XkiokwRmIK8lO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IdoDVj5ESCzIDRlTJCj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Vcox_3mEeyQTwEXX.8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QQScNTc0O54aWrwSvuR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KAbFJlakOf2_2GFYmTc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JWOXVpkaaXFU9Iij2G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tpAzSFSEyUz1EqjAGQk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QQScNTc0O54aWrwSvuR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v7OWy_EypaGDbhUGBb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prCWuZAECzbZdefgjfG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v7OWy_EypaGDbhUGBb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LJeyMa6UetMvw1iuDGW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v7OWy_EypaGDbhUGBb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aG0wryYUSoxZENr9SA0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PWpG9DlUOzNx24jkK1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LJeyMa6UetMvw1iuDGW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2mawRS.0iydC.h0oeSu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MbkIa7C0.miEwZUn2aQ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IdoDVj5ESCzIDRlTJCj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Vcox_3mEeyQTwEXX.8P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KAbFJlakOf2_2GFYmTc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JWOXVpkaaXFU9Iij2G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tpAzSFSEyUz1EqjAGQk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QQScNTc0O54aWrwSvuR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LJeyMa6UetMvw1iuDGW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v7OWy_EypaGDbhUGBb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aG0wryYUSoxZENr9SA0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PWpG9DlUOzNx24jkK10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2mawRS.0iydC.h0oeSu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MbkIa7C0.miEwZUn2aQ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IdoDVj5ESCzIDRlTJCj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Vcox_3mEeyQTwEXX.8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v7OWy_EypaGDbhUGBb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KAbFJlakOf2_2GFYmTc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JWOXVpkaaXFU9Iij2G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tpAzSFSEyUz1EqjAGQk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QQScNTc0O54aWrwSvuR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v7OWy_EypaGDbhUGBb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v7OWy_EypaGDbhUGBb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v7OWy_EypaGDbhUGBb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ynsgLalkCzDNct0txy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cJJ6TrSEGMeeN_JODA0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IdoDVj5ESCzIDRlTJCj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Vcox_3mEeyQTwEXX.8P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KAbFJlakOf2_2GFYmTc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JWOXVpkaaXFU9Iij2G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tpAzSFSEyUz1EqjAGQk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QQScNTc0O54aWrwSvuR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v7OWy_EypaGDbhUGBb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fEJ2.CTkqB9K.fXSPKk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Yy5gGEejmqnpNlHfG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IdoDVj5ESCzIDRlTJCj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Vcox_3mEeyQTwEXX.8P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KAbFJlakOf2_2GFYmTc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JWOXVpkaaXFU9Iij2G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tpAzSFSEyUz1EqjAGQk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QQScNTc0O54aWrwSvuRA"/>
</p:tagLst>
</file>

<file path=ppt/theme/theme1.xml><?xml version="1.0" encoding="utf-8"?>
<a:theme xmlns:a="http://schemas.openxmlformats.org/drawingml/2006/main" name="Longfor original template update_20080509">
  <a:themeElements>
    <a:clrScheme name="Longfor">
      <a:dk1>
        <a:srgbClr val="000000"/>
      </a:dk1>
      <a:lt1>
        <a:srgbClr val="FFFFFF"/>
      </a:lt1>
      <a:dk2>
        <a:srgbClr val="323255"/>
      </a:dk2>
      <a:lt2>
        <a:srgbClr val="FFFFFF"/>
      </a:lt2>
      <a:accent1>
        <a:srgbClr val="BFD2ED"/>
      </a:accent1>
      <a:accent2>
        <a:srgbClr val="B69B70"/>
      </a:accent2>
      <a:accent3>
        <a:srgbClr val="323255"/>
      </a:accent3>
      <a:accent4>
        <a:srgbClr val="E97118"/>
      </a:accent4>
      <a:accent5>
        <a:srgbClr val="2D4C92"/>
      </a:accent5>
      <a:accent6>
        <a:srgbClr val="FE1909"/>
      </a:accent6>
      <a:hlink>
        <a:srgbClr val="2D4C92"/>
      </a:hlink>
      <a:folHlink>
        <a:srgbClr val="C1C0BF"/>
      </a:folHlink>
    </a:clrScheme>
    <a:fontScheme name="Longfor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 cmpd="sng">
          <a:solidFill>
            <a:schemeClr val="accent3"/>
          </a:solidFill>
        </a:ln>
        <a:effectLst/>
      </a:spPr>
      <a:bodyPr lIns="0" tIns="0" rIns="0" bIns="0" rtlCol="0" anchor="ctr"/>
      <a:lstStyle>
        <a:defPPr algn="ctr">
          <a:defRPr sz="1300" b="0" dirty="0" smtClean="0">
            <a:solidFill>
              <a:schemeClr val="tx1"/>
            </a:solidFill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 xmlns="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xmlns="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lIns="0" tIns="0" rIns="0" bIns="0">
        <a:spAutoFit/>
      </a:bodyPr>
      <a:lstStyle>
        <a:defPPr eaLnBrk="1" hangingPunct="1">
          <a:spcBef>
            <a:spcPct val="0"/>
          </a:spcBef>
          <a:defRPr sz="2000" b="1" dirty="0" smtClean="0">
            <a:solidFill>
              <a:srgbClr val="323255"/>
            </a:solidFill>
            <a:ea typeface="华文楷体" pitchFamily="2" charset="-122"/>
            <a:cs typeface="Arial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Longfor original template update_20080509</Template>
  <TotalTime>9648</TotalTime>
  <Words>1602</Words>
  <Application>Microsoft Office PowerPoint</Application>
  <PresentationFormat>A4 纸张(210x297 毫米)</PresentationFormat>
  <Paragraphs>360</Paragraphs>
  <Slides>35</Slides>
  <Notes>0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35</vt:i4>
      </vt:variant>
    </vt:vector>
  </HeadingPairs>
  <TitlesOfParts>
    <vt:vector size="37" baseType="lpstr">
      <vt:lpstr>Longfor original template update_20080509</vt:lpstr>
      <vt:lpstr>自定义设计方案</vt:lpstr>
      <vt:lpstr>龙湖技术架构</vt:lpstr>
      <vt:lpstr>幻灯片 2</vt:lpstr>
      <vt:lpstr>幻灯片 3</vt:lpstr>
      <vt:lpstr>幻灯片 4</vt:lpstr>
      <vt:lpstr>幻灯片 5</vt:lpstr>
      <vt:lpstr>幻灯片 6</vt:lpstr>
      <vt:lpstr>技术架构— Mvc及扩展 </vt:lpstr>
      <vt:lpstr>幻灯片 8</vt:lpstr>
      <vt:lpstr>幻灯片 9</vt:lpstr>
      <vt:lpstr>幻灯片 10</vt:lpstr>
      <vt:lpstr>幻灯片 11</vt:lpstr>
      <vt:lpstr>代码规范：生成卡片的数据验证</vt:lpstr>
      <vt:lpstr>代码规范：生成卡片的数据验证</vt:lpstr>
      <vt:lpstr>幻灯片 14</vt:lpstr>
      <vt:lpstr>幻灯片 15</vt:lpstr>
      <vt:lpstr>幻灯片 16</vt:lpstr>
      <vt:lpstr>幻灯片 17</vt:lpstr>
      <vt:lpstr>幻灯片 18</vt:lpstr>
      <vt:lpstr>幻灯片 19</vt:lpstr>
      <vt:lpstr>幻灯片 20</vt:lpstr>
      <vt:lpstr>幻灯片 21</vt:lpstr>
      <vt:lpstr>幻灯片 22</vt:lpstr>
      <vt:lpstr>幻灯片 23</vt:lpstr>
      <vt:lpstr>幻灯片 24</vt:lpstr>
      <vt:lpstr>幻灯片 25</vt:lpstr>
      <vt:lpstr>幻灯片 26</vt:lpstr>
      <vt:lpstr>幻灯片 27</vt:lpstr>
      <vt:lpstr>幻灯片 28</vt:lpstr>
      <vt:lpstr>幻灯片 29</vt:lpstr>
      <vt:lpstr>幻灯片 30</vt:lpstr>
      <vt:lpstr>幻灯片 31</vt:lpstr>
      <vt:lpstr>幻灯片 32</vt:lpstr>
      <vt:lpstr>幻灯片 33</vt:lpstr>
      <vt:lpstr>幻灯片 34</vt:lpstr>
      <vt:lpstr>幻灯片 35</vt:lpstr>
    </vt:vector>
  </TitlesOfParts>
  <Company>MC SYSTEM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di架构</dc:title>
  <dc:creator>Udi</dc:creator>
  <dc:description>Version: 2008-04-01</dc:description>
  <cp:lastModifiedBy>于新海</cp:lastModifiedBy>
  <cp:revision>277</cp:revision>
  <dcterms:created xsi:type="dcterms:W3CDTF">2008-05-15T15:10:34Z</dcterms:created>
  <dcterms:modified xsi:type="dcterms:W3CDTF">2012-12-15T06:10:58Z</dcterms:modified>
</cp:coreProperties>
</file>